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notesSlides/notesSlide10.xml" ContentType="application/vnd.openxmlformats-officedocument.presentationml.notesSlide+xml"/>
  <Override PartName="/ppt/tags/tag13.xml" ContentType="application/vnd.openxmlformats-officedocument.presentationml.tags+xml"/>
  <Override PartName="/ppt/notesSlides/notesSlide11.xml" ContentType="application/vnd.openxmlformats-officedocument.presentationml.notesSlide+xml"/>
  <Override PartName="/ppt/tags/tag14.xml" ContentType="application/vnd.openxmlformats-officedocument.presentationml.tags+xml"/>
  <Override PartName="/ppt/notesSlides/notesSlide12.xml" ContentType="application/vnd.openxmlformats-officedocument.presentationml.notesSlide+xml"/>
  <Override PartName="/ppt/tags/tag15.xml" ContentType="application/vnd.openxmlformats-officedocument.presentationml.tags+xml"/>
  <Override PartName="/ppt/notesSlides/notesSlide13.xml" ContentType="application/vnd.openxmlformats-officedocument.presentationml.notesSlide+xml"/>
  <Override PartName="/ppt/tags/tag16.xml" ContentType="application/vnd.openxmlformats-officedocument.presentationml.tags+xml"/>
  <Override PartName="/ppt/notesSlides/notesSlide14.xml" ContentType="application/vnd.openxmlformats-officedocument.presentationml.notesSlide+xml"/>
  <Override PartName="/ppt/tags/tag17.xml" ContentType="application/vnd.openxmlformats-officedocument.presentationml.tags+xml"/>
  <Override PartName="/ppt/notesSlides/notesSlide15.xml" ContentType="application/vnd.openxmlformats-officedocument.presentationml.notesSlide+xml"/>
  <Override PartName="/ppt/tags/tag18.xml" ContentType="application/vnd.openxmlformats-officedocument.presentationml.tags+xml"/>
  <Override PartName="/ppt/notesSlides/notesSlide16.xml" ContentType="application/vnd.openxmlformats-officedocument.presentationml.notesSlide+xml"/>
  <Override PartName="/ppt/tags/tag19.xml" ContentType="application/vnd.openxmlformats-officedocument.presentationml.tags+xml"/>
  <Override PartName="/ppt/notesSlides/notesSlide17.xml" ContentType="application/vnd.openxmlformats-officedocument.presentationml.notesSlide+xml"/>
  <Override PartName="/ppt/tags/tag20.xml" ContentType="application/vnd.openxmlformats-officedocument.presentationml.tags+xml"/>
  <Override PartName="/ppt/notesSlides/notesSlide18.xml" ContentType="application/vnd.openxmlformats-officedocument.presentationml.notesSlide+xml"/>
  <Override PartName="/ppt/tags/tag21.xml" ContentType="application/vnd.openxmlformats-officedocument.presentationml.tags+xml"/>
  <Override PartName="/ppt/notesSlides/notesSlide19.xml" ContentType="application/vnd.openxmlformats-officedocument.presentationml.notesSlide+xml"/>
  <Override PartName="/ppt/tags/tag22.xml" ContentType="application/vnd.openxmlformats-officedocument.presentationml.tags+xml"/>
  <Override PartName="/ppt/notesSlides/notesSlide20.xml" ContentType="application/vnd.openxmlformats-officedocument.presentationml.notesSlide+xml"/>
  <Override PartName="/ppt/tags/tag23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tags/tag24.xml" ContentType="application/vnd.openxmlformats-officedocument.presentationml.tags+xml"/>
  <Override PartName="/ppt/notesSlides/notesSlide2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1"/>
  </p:sldMasterIdLst>
  <p:notesMasterIdLst>
    <p:notesMasterId r:id="rId25"/>
  </p:notesMasterIdLst>
  <p:sldIdLst>
    <p:sldId id="256" r:id="rId2"/>
    <p:sldId id="257" r:id="rId3"/>
    <p:sldId id="284" r:id="rId4"/>
    <p:sldId id="295" r:id="rId5"/>
    <p:sldId id="260" r:id="rId6"/>
    <p:sldId id="259" r:id="rId7"/>
    <p:sldId id="297" r:id="rId8"/>
    <p:sldId id="261" r:id="rId9"/>
    <p:sldId id="262" r:id="rId10"/>
    <p:sldId id="263" r:id="rId11"/>
    <p:sldId id="264" r:id="rId12"/>
    <p:sldId id="265" r:id="rId13"/>
    <p:sldId id="266" r:id="rId14"/>
    <p:sldId id="267" r:id="rId15"/>
    <p:sldId id="285" r:id="rId16"/>
    <p:sldId id="286" r:id="rId17"/>
    <p:sldId id="271" r:id="rId18"/>
    <p:sldId id="272" r:id="rId19"/>
    <p:sldId id="274" r:id="rId20"/>
    <p:sldId id="276" r:id="rId21"/>
    <p:sldId id="277" r:id="rId22"/>
    <p:sldId id="278" r:id="rId23"/>
    <p:sldId id="296" r:id="rId24"/>
  </p:sldIdLst>
  <p:sldSz cx="9144000" cy="5143500" type="screen16x9"/>
  <p:notesSz cx="6858000" cy="9144000"/>
  <p:custDataLst>
    <p:tags r:id="rId26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892">
          <p15:clr>
            <a:srgbClr val="A4A3A4"/>
          </p15:clr>
        </p15:guide>
        <p15:guide id="2" pos="2921">
          <p15:clr>
            <a:srgbClr val="A4A3A4"/>
          </p15:clr>
        </p15:guide>
      </p15:sldGuideLst>
    </p:ext>
    <p:ext uri="GoogleSlidesCustomDataVersion2">
      <go:slidesCustomData xmlns="" xmlns:mc="http://schemas.openxmlformats.org/markup-compatibility/2006" xmlns:mv="urn:schemas-microsoft-com:mac:vml" xmlns:c="http://schemas.openxmlformats.org/drawingml/2006/chart" xmlns:dgm="http://schemas.openxmlformats.org/drawingml/2006/diagram" xmlns:o="urn:schemas-microsoft-com:office:office" xmlns:v="urn:schemas-microsoft-com:vml" xmlns:pvml="urn:schemas-microsoft-com:office:powerpoint" xmlns:com="http://schemas.openxmlformats.org/drawingml/2006/compatibility" xmlns:p14="http://schemas.microsoft.com/office/powerpoint/2010/main" xmlns:p15="http://schemas.microsoft.com/office/powerpoint/2012/main" xmlns:ahyp="http://schemas.microsoft.com/office/drawing/2018/hyperlinkcolor" xmlns:go="http://customooxmlschemas.google.com/" r:id="rId39" roundtripDataSignature="AMtx7mgTbvn4HNtiCWSyGJYXBOvNuJ0TJQ==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imon Banholzer" initials="" lastIdx="1" clrIdx="0"/>
  <p:cmAuthor id="1" name="Pasquier-Eichenberger Isabelle PARL" initials="PEIP" lastIdx="4" clrIdx="1">
    <p:extLst>
      <p:ext uri="{19B8F6BF-5375-455C-9EA6-DF929625EA0E}">
        <p15:presenceInfo xmlns:p15="http://schemas.microsoft.com/office/powerpoint/2012/main" userId="S::i.pasquier@parl.ch::256f61e7-e9cc-4f7a-b358-cf9d584669a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ACB69"/>
    <a:srgbClr val="D7EAC4"/>
    <a:srgbClr val="82AC54"/>
    <a:srgbClr val="F0E3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52"/>
    <p:restoredTop sz="90553" autoAdjust="0"/>
  </p:normalViewPr>
  <p:slideViewPr>
    <p:cSldViewPr snapToGrid="0">
      <p:cViewPr>
        <p:scale>
          <a:sx n="76" d="100"/>
          <a:sy n="76" d="100"/>
        </p:scale>
        <p:origin x="24" y="36"/>
      </p:cViewPr>
      <p:guideLst>
        <p:guide orient="horz" pos="892"/>
        <p:guide pos="292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9" Type="http://customschemas.google.com/relationships/presentationmetadata" Target="metadata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40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43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N°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8" name="Google Shape;68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Google Shape;128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" name="Google Shape;129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p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8" name="Google Shape;138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" name="Google Shape;143;p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4" name="Google Shape;144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" name="Google Shape;154;p1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55" name="Google Shape;155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Google Shape;162;p1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algn="l"/>
            <a:endParaRPr lang="fr-CH" sz="1800" b="0" i="0" u="none" strike="noStrik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fr-FR" sz="1800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</a:rPr>
              <a:t> L’Office fédéral de l’énergie (OFEN) estime que jusqu’en 2035, environ 25 milliards de kilowattheures (kWh) d’électricité solaire pourront être produits sur les bâtiments, dont 30 % en hiver. </a:t>
            </a:r>
          </a:p>
          <a:p>
            <a:r>
              <a:rPr lang="fr-FR" sz="1800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</a:rPr>
              <a:t>C’est plus que ce que les centrales nucléaires ont produit en 2023 (23,3 milliards de kWh). </a:t>
            </a:r>
          </a:p>
          <a:p>
            <a:r>
              <a:rPr lang="fr-FR" sz="1800" b="0" i="0" u="none" strike="noStrike" baseline="0" dirty="0">
                <a:solidFill>
                  <a:srgbClr val="000000"/>
                </a:solidFill>
                <a:latin typeface="Arial" panose="020B0604020202020204" pitchFamily="34" charset="0"/>
              </a:rPr>
              <a:t>Toutes technologies de production d’électricité renouvelable confondues, la production d’électricité sur les bâtiments présente le plus grand potentiel de développement. </a:t>
            </a:r>
            <a:endParaRPr dirty="0"/>
          </a:p>
        </p:txBody>
      </p:sp>
      <p:sp>
        <p:nvSpPr>
          <p:cNvPr id="163" name="Google Shape;163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Google Shape;187;p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88" name="Google Shape;188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" name="Google Shape;196;p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97" name="Google Shape;197;p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" name="Google Shape;206;p1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07" name="Google Shape;207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" name="Google Shape;214;p1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5" name="Google Shape;215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9" name="Google Shape;249;p1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0" name="Google Shape;250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Google Shape;74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5" name="Google Shape;75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" name="Google Shape;266;p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67" name="Google Shape;267;p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" name="Google Shape;277;p2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8" name="Google Shape;278;p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" name="Google Shape;293;p2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4" name="Google Shape;294;p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p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8" name="Google Shape;138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5118354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0" name="Google Shape;80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0" name="Google Shape;80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1613834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Google Shape;99;p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0" name="Google Shape;100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8" name="Google Shape;88;p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89" name="Google Shape;89;p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/>
              <a:t>6</a:t>
            </a:fld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8" name="Google Shape;88;p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89" name="Google Shape;89;p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/>
              <a:t>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8784687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" name="Google Shape;105;p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fr-CH" dirty="0"/>
          </a:p>
        </p:txBody>
      </p:sp>
      <p:sp>
        <p:nvSpPr>
          <p:cNvPr id="106" name="Google Shape;106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Google Shape;119;p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0" name="Google Shape;120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folie">
  <p:cSld name="Titelfolie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34"/>
          <p:cNvSpPr txBox="1">
            <a:spLocks noGrp="1"/>
          </p:cNvSpPr>
          <p:nvPr>
            <p:ph type="body" idx="1"/>
          </p:nvPr>
        </p:nvSpPr>
        <p:spPr>
          <a:xfrm>
            <a:off x="457200" y="1100666"/>
            <a:ext cx="8229600" cy="35936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31800" algn="l"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/>
            </a:lvl1pPr>
            <a:lvl2pPr marL="914400" lvl="1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" name="Google Shape;16;p34"/>
          <p:cNvSpPr txBox="1">
            <a:spLocks noGrp="1"/>
          </p:cNvSpPr>
          <p:nvPr>
            <p:ph type="subTitle" idx="2"/>
          </p:nvPr>
        </p:nvSpPr>
        <p:spPr>
          <a:xfrm>
            <a:off x="3352800" y="4493718"/>
            <a:ext cx="5334000" cy="5408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spcBef>
                <a:spcPts val="440"/>
              </a:spcBef>
              <a:spcAft>
                <a:spcPts val="0"/>
              </a:spcAft>
              <a:buClr>
                <a:schemeClr val="dk1"/>
              </a:buClr>
              <a:buSzPts val="2200"/>
              <a:buNone/>
              <a:defRPr sz="2200" i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 algn="ctr">
              <a:spcBef>
                <a:spcPts val="560"/>
              </a:spcBef>
              <a:spcAft>
                <a:spcPts val="0"/>
              </a:spcAft>
              <a:buClr>
                <a:srgbClr val="888888"/>
              </a:buClr>
              <a:buSzPts val="2800"/>
              <a:buNone/>
              <a:defRPr>
                <a:solidFill>
                  <a:srgbClr val="888888"/>
                </a:solidFill>
              </a:defRPr>
            </a:lvl2pPr>
            <a:lvl3pPr lvl="2" algn="ctr">
              <a:spcBef>
                <a:spcPts val="48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>
                <a:solidFill>
                  <a:srgbClr val="888888"/>
                </a:solidFill>
              </a:defRPr>
            </a:lvl3pPr>
            <a:lvl4pPr lvl="3" algn="ctr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4pPr>
            <a:lvl5pPr lvl="4" algn="ctr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5pPr>
            <a:lvl6pPr lvl="5" algn="ctr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6pPr>
            <a:lvl7pPr lvl="6" algn="ctr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7pPr>
            <a:lvl8pPr lvl="7" algn="ctr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8pPr>
            <a:lvl9pPr lvl="8" algn="ctr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pic>
        <p:nvPicPr>
          <p:cNvPr id="17" name="Google Shape;17;p34" descr="ses_web_logo.png"/>
          <p:cNvPicPr preferRelativeResize="0"/>
          <p:nvPr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2929" y="3880031"/>
            <a:ext cx="2737186" cy="1041695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Google Shape;18;p34"/>
          <p:cNvSpPr txBox="1">
            <a:spLocks noGrp="1"/>
          </p:cNvSpPr>
          <p:nvPr>
            <p:ph type="title"/>
          </p:nvPr>
        </p:nvSpPr>
        <p:spPr>
          <a:xfrm>
            <a:off x="457200" y="356491"/>
            <a:ext cx="8229600" cy="734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ED2E38"/>
              </a:buClr>
              <a:buSzPts val="4400"/>
              <a:buFont typeface="Arial"/>
              <a:buNone/>
              <a:defRPr sz="4400">
                <a:solidFill>
                  <a:srgbClr val="ED2E38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bschnitts-&#10;überschrift" type="secHead">
  <p:cSld name="SECTION_HEADER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20;p35"/>
          <p:cNvSpPr txBox="1">
            <a:spLocks noGrp="1"/>
          </p:cNvSpPr>
          <p:nvPr>
            <p:ph type="title"/>
          </p:nvPr>
        </p:nvSpPr>
        <p:spPr>
          <a:xfrm>
            <a:off x="623887" y="1282304"/>
            <a:ext cx="7886700" cy="2139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ED2E38"/>
              </a:buClr>
              <a:buSzPts val="4500"/>
              <a:buFont typeface="Arial"/>
              <a:buNone/>
              <a:defRPr sz="45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35"/>
          <p:cNvSpPr txBox="1">
            <a:spLocks noGrp="1"/>
          </p:cNvSpPr>
          <p:nvPr>
            <p:ph type="body" idx="1"/>
          </p:nvPr>
        </p:nvSpPr>
        <p:spPr>
          <a:xfrm>
            <a:off x="623887" y="3442098"/>
            <a:ext cx="7886700" cy="1125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spcBef>
                <a:spcPts val="36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1pPr>
            <a:lvl2pPr marL="914400" lvl="1" indent="-228600" algn="l">
              <a:spcBef>
                <a:spcPts val="300"/>
              </a:spcBef>
              <a:spcAft>
                <a:spcPts val="0"/>
              </a:spcAft>
              <a:buClr>
                <a:srgbClr val="888888"/>
              </a:buClr>
              <a:buSzPts val="1500"/>
              <a:buNone/>
              <a:defRPr sz="1500">
                <a:solidFill>
                  <a:srgbClr val="888888"/>
                </a:solidFill>
              </a:defRPr>
            </a:lvl2pPr>
            <a:lvl3pPr marL="1371600" lvl="2" indent="-228600" algn="l">
              <a:spcBef>
                <a:spcPts val="270"/>
              </a:spcBef>
              <a:spcAft>
                <a:spcPts val="0"/>
              </a:spcAft>
              <a:buClr>
                <a:srgbClr val="888888"/>
              </a:buClr>
              <a:buSzPts val="1350"/>
              <a:buNone/>
              <a:defRPr sz="1350">
                <a:solidFill>
                  <a:srgbClr val="888888"/>
                </a:solidFill>
              </a:defRPr>
            </a:lvl3pPr>
            <a:lvl4pPr marL="1828800" lvl="3" indent="-228600" algn="l">
              <a:spcBef>
                <a:spcPts val="24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 sz="1200">
                <a:solidFill>
                  <a:srgbClr val="888888"/>
                </a:solidFill>
              </a:defRPr>
            </a:lvl4pPr>
            <a:lvl5pPr marL="2286000" lvl="4" indent="-228600" algn="l">
              <a:spcBef>
                <a:spcPts val="24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 sz="1200">
                <a:solidFill>
                  <a:srgbClr val="888888"/>
                </a:solidFill>
              </a:defRPr>
            </a:lvl5pPr>
            <a:lvl6pPr marL="2743200" lvl="5" indent="-228600" algn="l">
              <a:spcBef>
                <a:spcPts val="24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 sz="1200">
                <a:solidFill>
                  <a:srgbClr val="888888"/>
                </a:solidFill>
              </a:defRPr>
            </a:lvl6pPr>
            <a:lvl7pPr marL="3200400" lvl="6" indent="-228600" algn="l">
              <a:spcBef>
                <a:spcPts val="24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 sz="1200">
                <a:solidFill>
                  <a:srgbClr val="888888"/>
                </a:solidFill>
              </a:defRPr>
            </a:lvl7pPr>
            <a:lvl8pPr marL="3657600" lvl="7" indent="-228600" algn="l">
              <a:spcBef>
                <a:spcPts val="24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 sz="1200">
                <a:solidFill>
                  <a:srgbClr val="888888"/>
                </a:solidFill>
              </a:defRPr>
            </a:lvl8pPr>
            <a:lvl9pPr marL="4114800" lvl="8" indent="-228600" algn="l">
              <a:spcBef>
                <a:spcPts val="240"/>
              </a:spcBef>
              <a:spcAft>
                <a:spcPts val="0"/>
              </a:spcAft>
              <a:buClr>
                <a:srgbClr val="888888"/>
              </a:buClr>
              <a:buSzPts val="1200"/>
              <a:buNone/>
              <a:defRPr sz="12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22" name="Google Shape;22;p35"/>
          <p:cNvSpPr txBox="1">
            <a:spLocks noGrp="1"/>
          </p:cNvSpPr>
          <p:nvPr>
            <p:ph type="dt" idx="10"/>
          </p:nvPr>
        </p:nvSpPr>
        <p:spPr>
          <a:xfrm>
            <a:off x="7121407" y="4842519"/>
            <a:ext cx="696149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35"/>
          <p:cNvSpPr txBox="1">
            <a:spLocks noGrp="1"/>
          </p:cNvSpPr>
          <p:nvPr>
            <p:ph type="ftr" idx="11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4" name="Google Shape;24;p35"/>
          <p:cNvSpPr txBox="1">
            <a:spLocks noGrp="1"/>
          </p:cNvSpPr>
          <p:nvPr>
            <p:ph type="sldNum" idx="12"/>
          </p:nvPr>
        </p:nvSpPr>
        <p:spPr>
          <a:xfrm>
            <a:off x="7911630" y="4842519"/>
            <a:ext cx="77517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/>
              <a:t>‹N°›</a:t>
            </a:fld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Nur Titel" type="titleOnly">
  <p:cSld name="TITLE_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36"/>
          <p:cNvSpPr txBox="1">
            <a:spLocks noGrp="1"/>
          </p:cNvSpPr>
          <p:nvPr>
            <p:ph type="title"/>
          </p:nvPr>
        </p:nvSpPr>
        <p:spPr>
          <a:xfrm>
            <a:off x="457200" y="205979"/>
            <a:ext cx="8229600" cy="734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ED2E38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36"/>
          <p:cNvSpPr txBox="1">
            <a:spLocks noGrp="1"/>
          </p:cNvSpPr>
          <p:nvPr>
            <p:ph type="dt" idx="10"/>
          </p:nvPr>
        </p:nvSpPr>
        <p:spPr>
          <a:xfrm>
            <a:off x="7121407" y="4842519"/>
            <a:ext cx="696149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36"/>
          <p:cNvSpPr txBox="1">
            <a:spLocks noGrp="1"/>
          </p:cNvSpPr>
          <p:nvPr>
            <p:ph type="ft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29" name="Google Shape;29;p36"/>
          <p:cNvSpPr txBox="1">
            <a:spLocks noGrp="1"/>
          </p:cNvSpPr>
          <p:nvPr>
            <p:ph type="sldNum" idx="12"/>
          </p:nvPr>
        </p:nvSpPr>
        <p:spPr>
          <a:xfrm>
            <a:off x="7911630" y="4842519"/>
            <a:ext cx="77517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/>
              <a:t>‹N°›</a:t>
            </a:fld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Leer" type="blank">
  <p:cSld name="BLANK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 und Inhalt" type="obj">
  <p:cSld name="OBJEC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Google Shape;35;p39"/>
          <p:cNvSpPr txBox="1">
            <a:spLocks noGrp="1"/>
          </p:cNvSpPr>
          <p:nvPr>
            <p:ph type="title"/>
          </p:nvPr>
        </p:nvSpPr>
        <p:spPr>
          <a:xfrm>
            <a:off x="457200" y="205979"/>
            <a:ext cx="8229600" cy="734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ED2E38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" name="Google Shape;36;p39"/>
          <p:cNvSpPr txBox="1">
            <a:spLocks noGrp="1"/>
          </p:cNvSpPr>
          <p:nvPr>
            <p:ph type="body" idx="1"/>
          </p:nvPr>
        </p:nvSpPr>
        <p:spPr>
          <a:xfrm>
            <a:off x="457200" y="1100666"/>
            <a:ext cx="8229600" cy="35936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" name="Google Shape;37;p39"/>
          <p:cNvSpPr txBox="1">
            <a:spLocks noGrp="1"/>
          </p:cNvSpPr>
          <p:nvPr>
            <p:ph type="dt" idx="10"/>
          </p:nvPr>
        </p:nvSpPr>
        <p:spPr>
          <a:xfrm>
            <a:off x="7042387" y="4842519"/>
            <a:ext cx="775169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" name="Google Shape;38;p39"/>
          <p:cNvSpPr txBox="1">
            <a:spLocks noGrp="1"/>
          </p:cNvSpPr>
          <p:nvPr>
            <p:ph type="ftr" idx="11"/>
          </p:nvPr>
        </p:nvSpPr>
        <p:spPr>
          <a:xfrm>
            <a:off x="4384781" y="4842519"/>
            <a:ext cx="28956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39" name="Google Shape;39;p39"/>
          <p:cNvSpPr txBox="1">
            <a:spLocks noGrp="1"/>
          </p:cNvSpPr>
          <p:nvPr>
            <p:ph type="sldNum" idx="12"/>
          </p:nvPr>
        </p:nvSpPr>
        <p:spPr>
          <a:xfrm>
            <a:off x="7911630" y="4842519"/>
            <a:ext cx="77517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/>
              <a:t>‹N°›</a:t>
            </a:fld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el mit Untertitel und Bild">
  <p:cSld name="Titel mit Untertitel und Bild">
    <p:spTree>
      <p:nvGrpSpPr>
        <p:cNvPr id="1" name="Shape 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Google Shape;48;p41"/>
          <p:cNvSpPr txBox="1">
            <a:spLocks noGrp="1"/>
          </p:cNvSpPr>
          <p:nvPr>
            <p:ph type="title"/>
          </p:nvPr>
        </p:nvSpPr>
        <p:spPr>
          <a:xfrm>
            <a:off x="457200" y="205979"/>
            <a:ext cx="8229600" cy="734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ED2E38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" name="Google Shape;49;p41"/>
          <p:cNvSpPr txBox="1">
            <a:spLocks noGrp="1"/>
          </p:cNvSpPr>
          <p:nvPr>
            <p:ph type="dt" idx="10"/>
          </p:nvPr>
        </p:nvSpPr>
        <p:spPr>
          <a:xfrm>
            <a:off x="7121407" y="4842519"/>
            <a:ext cx="696149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" name="Google Shape;50;p41"/>
          <p:cNvSpPr txBox="1">
            <a:spLocks noGrp="1"/>
          </p:cNvSpPr>
          <p:nvPr>
            <p:ph type="sldNum" idx="12"/>
          </p:nvPr>
        </p:nvSpPr>
        <p:spPr>
          <a:xfrm>
            <a:off x="7911630" y="4842519"/>
            <a:ext cx="77517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/>
              <a:t>‹N°›</a:t>
            </a:fld>
            <a:endParaRPr/>
          </a:p>
        </p:txBody>
      </p:sp>
      <p:sp>
        <p:nvSpPr>
          <p:cNvPr id="51" name="Google Shape;51;p41"/>
          <p:cNvSpPr txBox="1">
            <a:spLocks noGrp="1"/>
          </p:cNvSpPr>
          <p:nvPr>
            <p:ph type="body" idx="1"/>
          </p:nvPr>
        </p:nvSpPr>
        <p:spPr>
          <a:xfrm>
            <a:off x="457200" y="955660"/>
            <a:ext cx="8229600" cy="5730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spcBef>
                <a:spcPts val="640"/>
              </a:spcBef>
              <a:spcAft>
                <a:spcPts val="0"/>
              </a:spcAft>
              <a:buClr>
                <a:srgbClr val="000000"/>
              </a:buClr>
              <a:buSzPts val="3200"/>
              <a:buNone/>
              <a:defRPr b="0" i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2pPr>
            <a:lvl3pPr marL="1371600" lvl="2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" name="Google Shape;52;p41"/>
          <p:cNvSpPr txBox="1">
            <a:spLocks noGrp="1"/>
          </p:cNvSpPr>
          <p:nvPr>
            <p:ph type="ftr" idx="11"/>
          </p:nvPr>
        </p:nvSpPr>
        <p:spPr>
          <a:xfrm>
            <a:off x="4384781" y="4842519"/>
            <a:ext cx="28956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0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3" name="Google Shape;53;p41"/>
          <p:cNvSpPr>
            <a:spLocks noGrp="1"/>
          </p:cNvSpPr>
          <p:nvPr>
            <p:ph type="pic" idx="2"/>
          </p:nvPr>
        </p:nvSpPr>
        <p:spPr>
          <a:xfrm>
            <a:off x="457200" y="1624013"/>
            <a:ext cx="8229600" cy="2979737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bschnittsüberschrift">
  <p:cSld name="Abschnittsüberschrift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42"/>
          <p:cNvSpPr txBox="1">
            <a:spLocks noGrp="1"/>
          </p:cNvSpPr>
          <p:nvPr>
            <p:ph type="title"/>
          </p:nvPr>
        </p:nvSpPr>
        <p:spPr>
          <a:xfrm>
            <a:off x="457200" y="3305176"/>
            <a:ext cx="8037513" cy="10215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ED2E38"/>
              </a:buClr>
              <a:buSzPts val="4000"/>
              <a:buFont typeface="Arial"/>
              <a:buNone/>
              <a:defRPr sz="4000" b="1" cap="none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" name="Google Shape;56;p42"/>
          <p:cNvSpPr txBox="1">
            <a:spLocks noGrp="1"/>
          </p:cNvSpPr>
          <p:nvPr>
            <p:ph type="dt" idx="10"/>
          </p:nvPr>
        </p:nvSpPr>
        <p:spPr>
          <a:xfrm>
            <a:off x="7121407" y="4842519"/>
            <a:ext cx="696149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" name="Google Shape;57;p42"/>
          <p:cNvSpPr txBox="1">
            <a:spLocks noGrp="1"/>
          </p:cNvSpPr>
          <p:nvPr>
            <p:ph type="ft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8" name="Google Shape;58;p42"/>
          <p:cNvSpPr txBox="1">
            <a:spLocks noGrp="1"/>
          </p:cNvSpPr>
          <p:nvPr>
            <p:ph type="sldNum" idx="12"/>
          </p:nvPr>
        </p:nvSpPr>
        <p:spPr>
          <a:xfrm>
            <a:off x="7911630" y="4842519"/>
            <a:ext cx="77517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/>
              <a:t>‹N°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Zwei Inhalte" type="twoObj">
  <p:cSld name="TWO_OBJECTS">
    <p:spTree>
      <p:nvGrpSpPr>
        <p:cNvPr id="1" name="Shape 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Google Shape;60;p43"/>
          <p:cNvSpPr txBox="1">
            <a:spLocks noGrp="1"/>
          </p:cNvSpPr>
          <p:nvPr>
            <p:ph type="title"/>
          </p:nvPr>
        </p:nvSpPr>
        <p:spPr>
          <a:xfrm>
            <a:off x="457200" y="205979"/>
            <a:ext cx="8229600" cy="734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Clr>
                <a:srgbClr val="ED2E38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" name="Google Shape;61;p43"/>
          <p:cNvSpPr txBox="1">
            <a:spLocks noGrp="1"/>
          </p:cNvSpPr>
          <p:nvPr>
            <p:ph type="body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06400" algn="l"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1pPr>
            <a:lvl2pPr marL="914400" lvl="1" indent="-381000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Char char="–"/>
              <a:defRPr sz="2400"/>
            </a:lvl2pPr>
            <a:lvl3pPr marL="1371600" lvl="2" indent="-355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3pPr>
            <a:lvl4pPr marL="1828800" lvl="3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 sz="1800"/>
            </a:lvl4pPr>
            <a:lvl5pPr marL="2286000" lvl="4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 sz="1800"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9pPr>
          </a:lstStyle>
          <a:p>
            <a:endParaRPr/>
          </a:p>
        </p:txBody>
      </p:sp>
      <p:sp>
        <p:nvSpPr>
          <p:cNvPr id="62" name="Google Shape;62;p43"/>
          <p:cNvSpPr txBox="1">
            <a:spLocks noGrp="1"/>
          </p:cNvSpPr>
          <p:nvPr>
            <p:ph type="body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06400" algn="l"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1pPr>
            <a:lvl2pPr marL="914400" lvl="1" indent="-381000" algn="l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Char char="–"/>
              <a:defRPr sz="2400"/>
            </a:lvl2pPr>
            <a:lvl3pPr marL="1371600" lvl="2" indent="-355600" algn="l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3pPr>
            <a:lvl4pPr marL="1828800" lvl="3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 sz="1800"/>
            </a:lvl4pPr>
            <a:lvl5pPr marL="2286000" lvl="4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 sz="1800"/>
            </a:lvl5pPr>
            <a:lvl6pPr marL="2743200" lvl="5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6pPr>
            <a:lvl7pPr marL="3200400" lvl="6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7pPr>
            <a:lvl8pPr marL="3657600" lvl="7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8pPr>
            <a:lvl9pPr marL="4114800" lvl="8" indent="-342900" algn="l">
              <a:spcBef>
                <a:spcPts val="36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 sz="1800"/>
            </a:lvl9pPr>
          </a:lstStyle>
          <a:p>
            <a:endParaRPr/>
          </a:p>
        </p:txBody>
      </p:sp>
      <p:sp>
        <p:nvSpPr>
          <p:cNvPr id="63" name="Google Shape;63;p43"/>
          <p:cNvSpPr txBox="1">
            <a:spLocks noGrp="1"/>
          </p:cNvSpPr>
          <p:nvPr>
            <p:ph type="dt" idx="10"/>
          </p:nvPr>
        </p:nvSpPr>
        <p:spPr>
          <a:xfrm>
            <a:off x="7121407" y="4842519"/>
            <a:ext cx="696149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43"/>
          <p:cNvSpPr txBox="1">
            <a:spLocks noGrp="1"/>
          </p:cNvSpPr>
          <p:nvPr>
            <p:ph type="ft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65" name="Google Shape;65;p43"/>
          <p:cNvSpPr txBox="1">
            <a:spLocks noGrp="1"/>
          </p:cNvSpPr>
          <p:nvPr>
            <p:ph type="sldNum" idx="12"/>
          </p:nvPr>
        </p:nvSpPr>
        <p:spPr>
          <a:xfrm>
            <a:off x="7911630" y="4842519"/>
            <a:ext cx="77517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/>
              <a:t>‹N°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83561E4-E6B2-7E64-45D8-04CE70AAA7B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53702576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think-cell Folie" r:id="rId13" imgW="7772400" imgH="10058400" progId="TCLayout.ActiveDocument.1">
                  <p:embed/>
                </p:oleObj>
              </mc:Choice>
              <mc:Fallback>
                <p:oleObj name="think-cell Folie" r:id="rId1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33"/>
          <p:cNvSpPr txBox="1">
            <a:spLocks noGrp="1"/>
          </p:cNvSpPr>
          <p:nvPr>
            <p:ph type="title"/>
          </p:nvPr>
        </p:nvSpPr>
        <p:spPr>
          <a:xfrm>
            <a:off x="457200" y="205979"/>
            <a:ext cx="8229600" cy="734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Clr>
                <a:srgbClr val="ED2E38"/>
              </a:buClr>
              <a:buSzPts val="4000"/>
              <a:buFont typeface="Arial"/>
              <a:buNone/>
              <a:defRPr sz="4000" b="1" i="0" u="none" strike="noStrike" cap="none">
                <a:solidFill>
                  <a:srgbClr val="ED2E38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33"/>
          <p:cNvSpPr txBox="1">
            <a:spLocks noGrp="1"/>
          </p:cNvSpPr>
          <p:nvPr>
            <p:ph type="body" idx="1"/>
          </p:nvPr>
        </p:nvSpPr>
        <p:spPr>
          <a:xfrm>
            <a:off x="457200" y="1100666"/>
            <a:ext cx="8229600" cy="35936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31800" algn="l" rtl="0">
              <a:spcBef>
                <a:spcPts val="64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Arial"/>
              <a:buChar char="•"/>
              <a:defRPr sz="3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406400" algn="l" rtl="0">
              <a:spcBef>
                <a:spcPts val="56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–"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81000" algn="l" rtl="0">
              <a:spcBef>
                <a:spcPts val="48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–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»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33"/>
          <p:cNvSpPr txBox="1">
            <a:spLocks noGrp="1"/>
          </p:cNvSpPr>
          <p:nvPr>
            <p:ph type="dt" idx="10"/>
          </p:nvPr>
        </p:nvSpPr>
        <p:spPr>
          <a:xfrm>
            <a:off x="7121407" y="4842519"/>
            <a:ext cx="696149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" name="Google Shape;13;p33"/>
          <p:cNvSpPr txBox="1">
            <a:spLocks noGrp="1"/>
          </p:cNvSpPr>
          <p:nvPr>
            <p:ph type="sldNum" idx="12"/>
          </p:nvPr>
        </p:nvSpPr>
        <p:spPr>
          <a:xfrm>
            <a:off x="7911630" y="4842519"/>
            <a:ext cx="77517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10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/>
              <a:t>‹N°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4" r:id="rId5"/>
    <p:sldLayoutId id="2147483656" r:id="rId6"/>
    <p:sldLayoutId id="2147483657" r:id="rId7"/>
    <p:sldLayoutId id="2147483658" r:id="rId8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4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3.emf"/><Relationship Id="rId11" Type="http://schemas.microsoft.com/office/2007/relationships/hdphoto" Target="../media/hdphoto7.wdp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7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8.emf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image" Target="../media/image29.png"/><Relationship Id="rId4" Type="http://schemas.openxmlformats.org/officeDocument/2006/relationships/notesSlide" Target="../notesSlides/notesSlide12.xml"/><Relationship Id="rId9" Type="http://schemas.microsoft.com/office/2007/relationships/hdphoto" Target="../media/hdphoto8.wdp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0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image" Target="../media/image31.png"/><Relationship Id="rId4" Type="http://schemas.openxmlformats.org/officeDocument/2006/relationships/notesSlide" Target="../notesSlides/notesSlide13.xml"/><Relationship Id="rId9" Type="http://schemas.microsoft.com/office/2007/relationships/hdphoto" Target="../media/hdphoto9.wdp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3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2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4.xml"/><Relationship Id="rId9" Type="http://schemas.microsoft.com/office/2007/relationships/hdphoto" Target="../media/hdphoto5.wdp"/></Relationships>
</file>

<file path=ppt/slides/_rels/slide15.xml.rels><?xml version="1.0" encoding="UTF-8" standalone="yes"?>
<Relationships xmlns="http://schemas.openxmlformats.org/package/2006/relationships"><Relationship Id="rId8" Type="http://schemas.microsoft.com/office/2007/relationships/hdphoto" Target="../media/hdphoto10.wdp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8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4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6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5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6.xml"/><Relationship Id="rId9" Type="http://schemas.microsoft.com/office/2007/relationships/hdphoto" Target="../media/hdphoto11.wdp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8.jpe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7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17.xml"/><Relationship Id="rId9" Type="http://schemas.microsoft.com/office/2007/relationships/hdphoto" Target="../media/hdphoto12.wdp"/></Relationships>
</file>

<file path=ppt/slides/_rels/slide18.xml.rels><?xml version="1.0" encoding="UTF-8" standalone="yes"?>
<Relationships xmlns="http://schemas.openxmlformats.org/package/2006/relationships"><Relationship Id="rId8" Type="http://schemas.microsoft.com/office/2007/relationships/hdphoto" Target="../media/hdphoto5.wdp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8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9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18.xml"/><Relationship Id="rId9" Type="http://schemas.openxmlformats.org/officeDocument/2006/relationships/image" Target="../media/image40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42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41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19.xml"/><Relationship Id="rId9" Type="http://schemas.microsoft.com/office/2007/relationships/hdphoto" Target="../media/hdphoto13.wdp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5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43.emf"/><Relationship Id="rId5" Type="http://schemas.openxmlformats.org/officeDocument/2006/relationships/oleObject" Target="../embeddings/oleObject21.bin"/><Relationship Id="rId4" Type="http://schemas.openxmlformats.org/officeDocument/2006/relationships/notesSlide" Target="../notesSlides/notesSlide20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13" Type="http://schemas.openxmlformats.org/officeDocument/2006/relationships/image" Target="../media/image49.png"/><Relationship Id="rId18" Type="http://schemas.openxmlformats.org/officeDocument/2006/relationships/image" Target="../media/image54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45.png"/><Relationship Id="rId12" Type="http://schemas.microsoft.com/office/2007/relationships/hdphoto" Target="../media/hdphoto14.wdp"/><Relationship Id="rId17" Type="http://schemas.openxmlformats.org/officeDocument/2006/relationships/image" Target="../media/image53.png"/><Relationship Id="rId2" Type="http://schemas.openxmlformats.org/officeDocument/2006/relationships/tags" Target="../tags/tag23.xml"/><Relationship Id="rId16" Type="http://schemas.openxmlformats.org/officeDocument/2006/relationships/image" Target="../media/image52.png"/><Relationship Id="rId1" Type="http://schemas.openxmlformats.org/officeDocument/2006/relationships/vmlDrawing" Target="../drawings/vmlDrawing22.vml"/><Relationship Id="rId6" Type="http://schemas.openxmlformats.org/officeDocument/2006/relationships/image" Target="../media/image44.emf"/><Relationship Id="rId11" Type="http://schemas.openxmlformats.org/officeDocument/2006/relationships/image" Target="../media/image8.png"/><Relationship Id="rId5" Type="http://schemas.openxmlformats.org/officeDocument/2006/relationships/oleObject" Target="../embeddings/oleObject22.bin"/><Relationship Id="rId15" Type="http://schemas.openxmlformats.org/officeDocument/2006/relationships/image" Target="../media/image51.png"/><Relationship Id="rId10" Type="http://schemas.openxmlformats.org/officeDocument/2006/relationships/image" Target="../media/image48.png"/><Relationship Id="rId4" Type="http://schemas.openxmlformats.org/officeDocument/2006/relationships/notesSlide" Target="../notesSlides/notesSlide21.xml"/><Relationship Id="rId9" Type="http://schemas.openxmlformats.org/officeDocument/2006/relationships/image" Target="../media/image47.png"/><Relationship Id="rId14" Type="http://schemas.openxmlformats.org/officeDocument/2006/relationships/image" Target="../media/image50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7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23.xml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8.png"/><Relationship Id="rId12" Type="http://schemas.openxmlformats.org/officeDocument/2006/relationships/image" Target="../media/image11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emf"/><Relationship Id="rId11" Type="http://schemas.openxmlformats.org/officeDocument/2006/relationships/image" Target="../media/image10.jpeg"/><Relationship Id="rId5" Type="http://schemas.openxmlformats.org/officeDocument/2006/relationships/oleObject" Target="../embeddings/oleObject4.bin"/><Relationship Id="rId10" Type="http://schemas.microsoft.com/office/2007/relationships/hdphoto" Target="../media/hdphoto2.wdp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7.em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12.png"/><Relationship Id="rId4" Type="http://schemas.openxmlformats.org/officeDocument/2006/relationships/notesSlide" Target="../notesSlides/notesSlide4.xml"/><Relationship Id="rId9" Type="http://schemas.microsoft.com/office/2007/relationships/hdphoto" Target="../media/hdphoto1.wdp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4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Relationship Id="rId9" Type="http://schemas.microsoft.com/office/2007/relationships/hdphoto" Target="../media/hdphoto3.wdp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8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16.emf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hdphoto" Target="../media/hdphoto4.wdp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8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16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8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7.emf"/><Relationship Id="rId11" Type="http://schemas.openxmlformats.org/officeDocument/2006/relationships/image" Target="../media/image20.png"/><Relationship Id="rId5" Type="http://schemas.openxmlformats.org/officeDocument/2006/relationships/oleObject" Target="../embeddings/oleObject9.bin"/><Relationship Id="rId10" Type="http://schemas.openxmlformats.org/officeDocument/2006/relationships/image" Target="../media/image19.jpeg"/><Relationship Id="rId4" Type="http://schemas.openxmlformats.org/officeDocument/2006/relationships/notesSlide" Target="../notesSlides/notesSlide8.xml"/><Relationship Id="rId9" Type="http://schemas.microsoft.com/office/2007/relationships/hdphoto" Target="../media/hdphoto5.wdp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2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9.xml"/><Relationship Id="rId9" Type="http://schemas.microsoft.com/office/2007/relationships/hdphoto" Target="../media/hdphoto6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26F9610-78C2-9F13-B258-9995396B792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032203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"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Google Shape;72;p1"/>
          <p:cNvSpPr txBox="1">
            <a:spLocks noGrp="1"/>
          </p:cNvSpPr>
          <p:nvPr>
            <p:ph type="title"/>
          </p:nvPr>
        </p:nvSpPr>
        <p:spPr>
          <a:xfrm>
            <a:off x="345106" y="322352"/>
            <a:ext cx="7886700" cy="2139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50000"/>
              </a:lnSpc>
              <a:spcBef>
                <a:spcPts val="1200"/>
              </a:spcBef>
              <a:spcAft>
                <a:spcPts val="0"/>
              </a:spcAft>
              <a:buClr>
                <a:srgbClr val="ED2E38"/>
              </a:buClr>
              <a:buSzPts val="4400"/>
              <a:buFont typeface="Arial"/>
              <a:buNone/>
            </a:pPr>
            <a:r>
              <a:rPr lang="fr-CH" sz="4400" dirty="0">
                <a:solidFill>
                  <a:srgbClr val="82AC54"/>
                </a:solidFill>
              </a:rPr>
              <a:t>LOI SUR L‘ÉLECTRICITÉ</a:t>
            </a:r>
            <a:br>
              <a:rPr lang="fr-CH" sz="3600" dirty="0">
                <a:solidFill>
                  <a:srgbClr val="82AC54"/>
                </a:solidFill>
              </a:rPr>
            </a:br>
            <a:r>
              <a:rPr lang="fr-CH" sz="3600" dirty="0">
                <a:solidFill>
                  <a:srgbClr val="82AC54"/>
                </a:solidFill>
              </a:rPr>
              <a:t>Contexte, contenu &amp; arguments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FF0B3210-C771-5A7F-49DF-2B5F7B082627}"/>
              </a:ext>
            </a:extLst>
          </p:cNvPr>
          <p:cNvSpPr txBox="1"/>
          <p:nvPr/>
        </p:nvSpPr>
        <p:spPr>
          <a:xfrm>
            <a:off x="345106" y="3299912"/>
            <a:ext cx="3079689" cy="129586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fr-CH" sz="1800" dirty="0">
                <a:latin typeface="Akkurat Std" panose="020B0504020101020102" pitchFamily="34" charset="77"/>
                <a:cs typeface="Akkurat Std" panose="020B0504020101020102" pitchFamily="34" charset="77"/>
              </a:rPr>
              <a:t>Isabelle Pasquier-Eichenberger</a:t>
            </a:r>
          </a:p>
          <a:p>
            <a:pPr>
              <a:lnSpc>
                <a:spcPct val="150000"/>
              </a:lnSpc>
            </a:pPr>
            <a:r>
              <a:rPr lang="fr-CH" sz="1800" dirty="0">
                <a:latin typeface="Akkurat Std" panose="020B0504020101020102" pitchFamily="34" charset="77"/>
                <a:cs typeface="Akkurat Std" panose="020B0504020101020102" pitchFamily="34" charset="77"/>
              </a:rPr>
              <a:t>Webinaire ATE</a:t>
            </a:r>
          </a:p>
          <a:p>
            <a:pPr>
              <a:lnSpc>
                <a:spcPct val="150000"/>
              </a:lnSpc>
            </a:pPr>
            <a:r>
              <a:rPr lang="fr-CH" sz="1800" dirty="0">
                <a:latin typeface="Akkurat Std" panose="020B0504020101020102" pitchFamily="34" charset="77"/>
                <a:cs typeface="Akkurat Std" panose="020B0504020101020102" pitchFamily="34" charset="77"/>
              </a:rPr>
              <a:t>30 avril 2024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CEFAE99-25F2-1ECC-4D5D-FAEB908F1F7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29676" y="2419784"/>
            <a:ext cx="2714324" cy="2723716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F775929-7652-58C8-E412-DBF938197DE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889233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6"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1" name="Google Shape;131;p8"/>
          <p:cNvSpPr txBox="1">
            <a:spLocks noGrp="1"/>
          </p:cNvSpPr>
          <p:nvPr>
            <p:ph type="title"/>
          </p:nvPr>
        </p:nvSpPr>
        <p:spPr>
          <a:xfrm>
            <a:off x="272269" y="294914"/>
            <a:ext cx="8229600" cy="734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ED2E38"/>
              </a:buClr>
              <a:buSzPts val="2700"/>
              <a:buFont typeface="Arial"/>
              <a:buNone/>
            </a:pPr>
            <a:r>
              <a:rPr lang="de-DE" sz="2700" dirty="0">
                <a:solidFill>
                  <a:srgbClr val="82AC54"/>
                </a:solidFill>
              </a:rPr>
              <a:t>CETTE LOI MET LE CAP SUR LE FUTUR</a:t>
            </a:r>
            <a:endParaRPr dirty="0">
              <a:solidFill>
                <a:srgbClr val="82AC54"/>
              </a:solidFill>
            </a:endParaRPr>
          </a:p>
        </p:txBody>
      </p:sp>
      <p:sp>
        <p:nvSpPr>
          <p:cNvPr id="132" name="Google Shape;132;p8"/>
          <p:cNvSpPr txBox="1"/>
          <p:nvPr/>
        </p:nvSpPr>
        <p:spPr>
          <a:xfrm>
            <a:off x="461094" y="1141770"/>
            <a:ext cx="3813020" cy="38702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R="0" lvl="0" algn="l" rtl="0"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500"/>
            </a:pPr>
            <a:r>
              <a:rPr lang="fr-CH" sz="1800" dirty="0">
                <a:solidFill>
                  <a:schemeClr val="dk1"/>
                </a:solidFill>
              </a:rPr>
              <a:t>Elle permet de :</a:t>
            </a:r>
            <a:endParaRPr lang="fr-CH" sz="18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66700" marR="0" lvl="0" indent="-2667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</a:pPr>
            <a:r>
              <a:rPr lang="fr-CH" sz="18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roduire de l‘électricité en accord avec la nature</a:t>
            </a:r>
            <a:endParaRPr lang="fr-CH" sz="1800" dirty="0"/>
          </a:p>
          <a:p>
            <a:pPr marL="257175" marR="0" lvl="0" indent="-257175" algn="l" rtl="0"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</a:pPr>
            <a:r>
              <a:rPr lang="fr-CH" sz="18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Sortir des énergies fossiles et nucléaires</a:t>
            </a:r>
          </a:p>
          <a:p>
            <a:pPr marL="257175" marR="0" lvl="0" indent="-257175" algn="l" rtl="0"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</a:pPr>
            <a:r>
              <a:rPr lang="fr-CH" sz="18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ccélérer la transition énergétique</a:t>
            </a:r>
          </a:p>
          <a:p>
            <a:pPr marL="257175" marR="0" lvl="0" indent="-257175" algn="l" rtl="0"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</a:pPr>
            <a:r>
              <a:rPr lang="fr-CH" sz="1800" dirty="0">
                <a:solidFill>
                  <a:schemeClr val="dk1"/>
                </a:solidFill>
              </a:rPr>
              <a:t>Développer l’énergie solaire</a:t>
            </a:r>
            <a:endParaRPr lang="fr-CH" sz="1800" dirty="0"/>
          </a:p>
          <a:p>
            <a:pPr marL="257175" marR="0" lvl="0" indent="-257175" algn="l" rtl="0"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</a:pPr>
            <a:r>
              <a:rPr lang="fr-CH" sz="18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éduire le gaspillage d‘énergie</a:t>
            </a:r>
            <a:endParaRPr lang="fr-CH" sz="1800" dirty="0"/>
          </a:p>
          <a:p>
            <a:pPr marL="257175" marR="0" lvl="0" indent="-257175" algn="l" rtl="0"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</a:pPr>
            <a:r>
              <a:rPr lang="fr-CH" sz="18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ssurer des prix de l’énergie stables et abordables</a:t>
            </a:r>
            <a:endParaRPr lang="fr-CH" sz="1800" dirty="0"/>
          </a:p>
        </p:txBody>
      </p:sp>
      <p:pic>
        <p:nvPicPr>
          <p:cNvPr id="133" name="Google Shape;133;p8"/>
          <p:cNvPicPr preferRelativeResize="0"/>
          <p:nvPr/>
        </p:nvPicPr>
        <p:blipFill rotWithShape="1"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97412" y="940741"/>
            <a:ext cx="1800000" cy="180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4" name="Google Shape;134;p8"/>
          <p:cNvPicPr preferRelativeResize="0"/>
          <p:nvPr/>
        </p:nvPicPr>
        <p:blipFill rotWithShape="1">
          <a:blip r:embed="rId8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23322" y="2486753"/>
            <a:ext cx="1800000" cy="180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5" name="Google Shape;135;p8"/>
          <p:cNvPicPr preferRelativeResize="0"/>
          <p:nvPr/>
        </p:nvPicPr>
        <p:blipFill rotWithShape="1">
          <a:blip r:embed="rId9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48718" y="3019187"/>
            <a:ext cx="1800000" cy="1800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1AFC5B29-FB45-7F44-245E-AC1C80BEEFD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6515" b="94697" l="9906" r="91195">
                        <a14:foregroundMark x1="46226" y1="57121" x2="46226" y2="57121"/>
                        <a14:foregroundMark x1="54560" y1="65606" x2="54560" y2="65606"/>
                        <a14:foregroundMark x1="52201" y1="57121" x2="52201" y2="57121"/>
                        <a14:foregroundMark x1="60849" y1="58636" x2="60849" y2="58636"/>
                        <a14:foregroundMark x1="80503" y1="55606" x2="80503" y2="55606"/>
                        <a14:foregroundMark x1="91195" y1="81970" x2="91195" y2="81970"/>
                        <a14:foregroundMark x1="25314" y1="91364" x2="25314" y2="91364"/>
                        <a14:foregroundMark x1="44182" y1="9394" x2="44182" y2="9394"/>
                        <a14:foregroundMark x1="39780" y1="6515" x2="50314" y2="6515"/>
                        <a14:backgroundMark x1="16667" y1="94848" x2="16667" y2="94848"/>
                        <a14:backgroundMark x1="16981" y1="95303" x2="16981" y2="95303"/>
                        <a14:backgroundMark x1="16509" y1="95909" x2="16509" y2="95909"/>
                        <a14:backgroundMark x1="16195" y1="94697" x2="16981" y2="96212"/>
                        <a14:backgroundMark x1="90566" y1="69545" x2="91509" y2="7303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849104" y="0"/>
            <a:ext cx="1297457" cy="1346418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A56872E-C45F-BC07-AFA7-B4C2420A16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998648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0"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0" name="Google Shape;140;p9"/>
          <p:cNvSpPr txBox="1">
            <a:spLocks noGrp="1"/>
          </p:cNvSpPr>
          <p:nvPr>
            <p:ph type="title"/>
          </p:nvPr>
        </p:nvSpPr>
        <p:spPr>
          <a:xfrm>
            <a:off x="623887" y="1282304"/>
            <a:ext cx="7886700" cy="2139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ED2E38"/>
              </a:buClr>
              <a:buSzPts val="3600"/>
              <a:buFont typeface="Arial"/>
              <a:buNone/>
            </a:pPr>
            <a:r>
              <a:rPr lang="de-DE" sz="4800" dirty="0">
                <a:solidFill>
                  <a:srgbClr val="82AC54"/>
                </a:solidFill>
              </a:rPr>
              <a:t>LA LOI EN DÉTAIL </a:t>
            </a:r>
            <a:endParaRPr sz="4800" dirty="0">
              <a:solidFill>
                <a:srgbClr val="82AC54"/>
              </a:solidFill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Image 12">
            <a:extLst>
              <a:ext uri="{FF2B5EF4-FFF2-40B4-BE49-F238E27FC236}">
                <a16:creationId xmlns:a16="http://schemas.microsoft.com/office/drawing/2014/main" id="{4EA92399-1C03-4F62-BDCF-F2F3A226B8F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4894" y="1436575"/>
            <a:ext cx="7434210" cy="2873447"/>
          </a:xfrm>
          <a:prstGeom prst="rect">
            <a:avLst/>
          </a:prstGeom>
        </p:spPr>
      </p:pic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F067F313-CEC7-EF49-3EDD-B53A641BE80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488734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5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8" name="Google Shape;148;p10"/>
          <p:cNvSpPr txBox="1">
            <a:spLocks noGrp="1"/>
          </p:cNvSpPr>
          <p:nvPr>
            <p:ph type="title"/>
          </p:nvPr>
        </p:nvSpPr>
        <p:spPr>
          <a:xfrm>
            <a:off x="550258" y="205979"/>
            <a:ext cx="8136542" cy="734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ED2E38"/>
              </a:buClr>
              <a:buSzPts val="2400"/>
              <a:buFont typeface="Arial"/>
              <a:buNone/>
            </a:pPr>
            <a:r>
              <a:rPr lang="de-DE" sz="2400" dirty="0">
                <a:solidFill>
                  <a:srgbClr val="82AC54"/>
                </a:solidFill>
              </a:rPr>
              <a:t>LA LOI SUR L‘ÉLECTRICITÉ</a:t>
            </a:r>
            <a:endParaRPr sz="2400" dirty="0">
              <a:solidFill>
                <a:srgbClr val="82AC54"/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6043AD14-B977-8314-2D5C-D16708BFBDD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6515" b="94697" l="9906" r="91195">
                        <a14:foregroundMark x1="46226" y1="57121" x2="46226" y2="57121"/>
                        <a14:foregroundMark x1="54560" y1="65606" x2="54560" y2="65606"/>
                        <a14:foregroundMark x1="52201" y1="57121" x2="52201" y2="57121"/>
                        <a14:foregroundMark x1="60849" y1="58636" x2="60849" y2="58636"/>
                        <a14:foregroundMark x1="80503" y1="55606" x2="80503" y2="55606"/>
                        <a14:foregroundMark x1="91195" y1="81970" x2="91195" y2="81970"/>
                        <a14:foregroundMark x1="25314" y1="91364" x2="25314" y2="91364"/>
                        <a14:foregroundMark x1="44182" y1="9394" x2="44182" y2="9394"/>
                        <a14:foregroundMark x1="39780" y1="6515" x2="50314" y2="6515"/>
                        <a14:backgroundMark x1="16667" y1="94848" x2="16667" y2="94848"/>
                        <a14:backgroundMark x1="16981" y1="95303" x2="16981" y2="95303"/>
                        <a14:backgroundMark x1="16509" y1="95909" x2="16509" y2="95909"/>
                        <a14:backgroundMark x1="16195" y1="94697" x2="16981" y2="96212"/>
                        <a14:backgroundMark x1="90566" y1="69545" x2="91509" y2="7303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849104" y="0"/>
            <a:ext cx="1297457" cy="1346418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D6E10E2D-53C0-488D-B199-A94E731BDEF7}"/>
              </a:ext>
            </a:extLst>
          </p:cNvPr>
          <p:cNvSpPr/>
          <p:nvPr/>
        </p:nvSpPr>
        <p:spPr>
          <a:xfrm>
            <a:off x="2516699" y="2759979"/>
            <a:ext cx="1551962" cy="273524"/>
          </a:xfrm>
          <a:prstGeom prst="rect">
            <a:avLst/>
          </a:prstGeom>
          <a:solidFill>
            <a:schemeClr val="accent3">
              <a:lumMod val="50000"/>
              <a:alpha val="50000"/>
            </a:schemeClr>
          </a:solidFill>
          <a:ln>
            <a:solidFill>
              <a:srgbClr val="82AC54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8AD922E-4B83-4B57-A35E-BCBCA131EBC1}"/>
              </a:ext>
            </a:extLst>
          </p:cNvPr>
          <p:cNvSpPr/>
          <p:nvPr/>
        </p:nvSpPr>
        <p:spPr>
          <a:xfrm>
            <a:off x="550258" y="3033503"/>
            <a:ext cx="3820406" cy="273526"/>
          </a:xfrm>
          <a:prstGeom prst="rect">
            <a:avLst/>
          </a:prstGeom>
          <a:solidFill>
            <a:srgbClr val="9ACB69">
              <a:alpha val="50000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C92CE40-D6E1-4D06-84BF-687E32A7CFC8}"/>
              </a:ext>
            </a:extLst>
          </p:cNvPr>
          <p:cNvSpPr/>
          <p:nvPr/>
        </p:nvSpPr>
        <p:spPr>
          <a:xfrm>
            <a:off x="4857227" y="2759977"/>
            <a:ext cx="384494" cy="273525"/>
          </a:xfrm>
          <a:prstGeom prst="rect">
            <a:avLst/>
          </a:prstGeom>
          <a:solidFill>
            <a:srgbClr val="9ACB69">
              <a:alpha val="50000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oogle Shape;120;p7">
            <a:extLst>
              <a:ext uri="{FF2B5EF4-FFF2-40B4-BE49-F238E27FC236}">
                <a16:creationId xmlns:a16="http://schemas.microsoft.com/office/drawing/2014/main" id="{92AD3C20-9AC7-40FF-AEF3-375CE80B41B4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373309" y="1589426"/>
            <a:ext cx="6539219" cy="3348095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F4C0E79-B95E-9439-07A7-47E3D6F04D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677522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1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7" name="Google Shape;157;p11"/>
          <p:cNvSpPr txBox="1">
            <a:spLocks noGrp="1"/>
          </p:cNvSpPr>
          <p:nvPr>
            <p:ph type="title"/>
          </p:nvPr>
        </p:nvSpPr>
        <p:spPr>
          <a:xfrm>
            <a:off x="457200" y="205979"/>
            <a:ext cx="8229600" cy="734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ED2E38"/>
              </a:buClr>
              <a:buSzPts val="2400"/>
              <a:buFont typeface="Arial"/>
              <a:buNone/>
            </a:pPr>
            <a:r>
              <a:rPr lang="de-DE" sz="2400" dirty="0">
                <a:solidFill>
                  <a:srgbClr val="82AC54"/>
                </a:solidFill>
              </a:rPr>
              <a:t>UN PLAN AMBITIEUX MAIS FAISABLE</a:t>
            </a:r>
            <a:endParaRPr dirty="0">
              <a:solidFill>
                <a:srgbClr val="82AC54"/>
              </a:solidFill>
            </a:endParaRPr>
          </a:p>
        </p:txBody>
      </p:sp>
      <p:sp>
        <p:nvSpPr>
          <p:cNvPr id="158" name="Google Shape;158;p11"/>
          <p:cNvSpPr txBox="1"/>
          <p:nvPr/>
        </p:nvSpPr>
        <p:spPr>
          <a:xfrm>
            <a:off x="457200" y="943136"/>
            <a:ext cx="7160004" cy="7078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CH" sz="1600" dirty="0">
                <a:solidFill>
                  <a:schemeClr val="dk1"/>
                </a:solidFill>
              </a:rPr>
              <a:t>Produire assez d‘électricité pour décarboner l‘approvisionnement d’ici 2035</a:t>
            </a: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fr-CH" sz="1200" dirty="0">
              <a:solidFill>
                <a:schemeClr val="dk1"/>
              </a:solidFill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CH" sz="1200" dirty="0">
                <a:solidFill>
                  <a:schemeClr val="dk1"/>
                </a:solidFill>
              </a:rPr>
              <a:t>Répartition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93C031B-79BF-C55B-F551-CE041BDA6A6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6515" b="94697" l="9906" r="91195">
                        <a14:foregroundMark x1="46226" y1="57121" x2="46226" y2="57121"/>
                        <a14:foregroundMark x1="54560" y1="65606" x2="54560" y2="65606"/>
                        <a14:foregroundMark x1="52201" y1="57121" x2="52201" y2="57121"/>
                        <a14:foregroundMark x1="60849" y1="58636" x2="60849" y2="58636"/>
                        <a14:foregroundMark x1="80503" y1="55606" x2="80503" y2="55606"/>
                        <a14:foregroundMark x1="91195" y1="81970" x2="91195" y2="81970"/>
                        <a14:foregroundMark x1="25314" y1="91364" x2="25314" y2="91364"/>
                        <a14:foregroundMark x1="44182" y1="9394" x2="44182" y2="9394"/>
                        <a14:foregroundMark x1="39780" y1="6515" x2="50314" y2="6515"/>
                        <a14:backgroundMark x1="16667" y1="94848" x2="16667" y2="94848"/>
                        <a14:backgroundMark x1="16981" y1="95303" x2="16981" y2="95303"/>
                        <a14:backgroundMark x1="16509" y1="95909" x2="16509" y2="95909"/>
                        <a14:backgroundMark x1="16195" y1="94697" x2="16981" y2="96212"/>
                        <a14:backgroundMark x1="90566" y1="69545" x2="91509" y2="7303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849104" y="0"/>
            <a:ext cx="1297457" cy="1346418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D0AFEB16-8343-9F46-D4FE-94CE001380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624618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4"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B83CB76D-517C-9690-DCF0-142547C9C88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16340" y="1289390"/>
            <a:ext cx="4895494" cy="3176777"/>
          </a:xfrm>
          <a:prstGeom prst="rect">
            <a:avLst/>
          </a:prstGeom>
        </p:spPr>
      </p:pic>
      <p:sp>
        <p:nvSpPr>
          <p:cNvPr id="166" name="Google Shape;166;p12"/>
          <p:cNvSpPr txBox="1">
            <a:spLocks noGrp="1"/>
          </p:cNvSpPr>
          <p:nvPr>
            <p:ph type="title"/>
          </p:nvPr>
        </p:nvSpPr>
        <p:spPr>
          <a:xfrm>
            <a:off x="457200" y="205979"/>
            <a:ext cx="8229600" cy="734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ED2E38"/>
              </a:buClr>
              <a:buSzPts val="2400"/>
              <a:buFont typeface="Arial"/>
              <a:buNone/>
            </a:pPr>
            <a:r>
              <a:rPr lang="de-DE" sz="2400" dirty="0">
                <a:solidFill>
                  <a:srgbClr val="82AC54"/>
                </a:solidFill>
              </a:rPr>
              <a:t>SUR LES INFRASTRUCTURES EXISTANTES</a:t>
            </a:r>
            <a:endParaRPr dirty="0">
              <a:solidFill>
                <a:srgbClr val="82AC54"/>
              </a:solidFill>
            </a:endParaRPr>
          </a:p>
        </p:txBody>
      </p:sp>
      <p:sp>
        <p:nvSpPr>
          <p:cNvPr id="167" name="Google Shape;167;p12"/>
          <p:cNvSpPr txBox="1"/>
          <p:nvPr/>
        </p:nvSpPr>
        <p:spPr>
          <a:xfrm>
            <a:off x="5106676" y="1439362"/>
            <a:ext cx="3720984" cy="11695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CH" sz="15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La loi sur l‘électricité mise sur  </a:t>
            </a:r>
            <a:br>
              <a:rPr lang="fr-CH" sz="15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fr-CH" sz="15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le solaire sur les infrastructures existantes.</a:t>
            </a:r>
            <a:endParaRPr lang="fr-CH" sz="1500" b="1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fr-CH" sz="1500" b="1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8" name="Google Shape;168;p12"/>
          <p:cNvSpPr/>
          <p:nvPr/>
        </p:nvSpPr>
        <p:spPr>
          <a:xfrm>
            <a:off x="1350335" y="2264735"/>
            <a:ext cx="584791" cy="1318438"/>
          </a:xfrm>
          <a:prstGeom prst="ellipse">
            <a:avLst/>
          </a:prstGeom>
          <a:noFill/>
          <a:ln w="28575" cap="flat" cmpd="sng">
            <a:solidFill>
              <a:srgbClr val="FF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9" name="Google Shape;169;p12"/>
          <p:cNvSpPr txBox="1"/>
          <p:nvPr/>
        </p:nvSpPr>
        <p:spPr>
          <a:xfrm>
            <a:off x="895030" y="1549195"/>
            <a:ext cx="1495400" cy="7155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350" dirty="0">
                <a:solidFill>
                  <a:srgbClr val="FF0000"/>
                </a:solidFill>
                <a:latin typeface="Calibri"/>
                <a:ea typeface="Calibri"/>
                <a:cs typeface="Calibri"/>
                <a:sym typeface="Calibri"/>
              </a:rPr>
              <a:t>&gt; 80% du </a:t>
            </a:r>
            <a:r>
              <a:rPr lang="de-DE" sz="1350" dirty="0" err="1">
                <a:solidFill>
                  <a:srgbClr val="FF0000"/>
                </a:solidFill>
                <a:latin typeface="Calibri"/>
                <a:ea typeface="Calibri"/>
                <a:cs typeface="Calibri"/>
                <a:sym typeface="Calibri"/>
              </a:rPr>
              <a:t>développement</a:t>
            </a:r>
            <a:r>
              <a:rPr lang="de-DE" sz="1350" dirty="0">
                <a:solidFill>
                  <a:srgbClr val="FF0000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de-DE" sz="1350" dirty="0" err="1">
                <a:solidFill>
                  <a:srgbClr val="FF0000"/>
                </a:solidFill>
                <a:latin typeface="Calibri"/>
                <a:ea typeface="Calibri"/>
                <a:cs typeface="Calibri"/>
                <a:sym typeface="Calibri"/>
              </a:rPr>
              <a:t>prévu</a:t>
            </a:r>
            <a:endParaRPr dirty="0"/>
          </a:p>
        </p:txBody>
      </p:sp>
      <p:sp>
        <p:nvSpPr>
          <p:cNvPr id="170" name="Google Shape;170;p12"/>
          <p:cNvSpPr txBox="1"/>
          <p:nvPr/>
        </p:nvSpPr>
        <p:spPr>
          <a:xfrm>
            <a:off x="5106676" y="2568044"/>
            <a:ext cx="3474966" cy="1938952"/>
          </a:xfrm>
          <a:prstGeom prst="rect">
            <a:avLst/>
          </a:prstGeom>
          <a:solidFill>
            <a:srgbClr val="D7EAC4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R="0"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</a:pPr>
            <a:r>
              <a:rPr lang="fr-CH" sz="1500" dirty="0">
                <a:solidFill>
                  <a:schemeClr val="dk1"/>
                </a:solidFill>
              </a:rPr>
              <a:t>Instruments : </a:t>
            </a:r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 panose="020B0604020202020204" pitchFamily="34" charset="0"/>
              <a:buChar char="•"/>
            </a:pPr>
            <a:r>
              <a:rPr lang="fr-CH" sz="1500" dirty="0">
                <a:solidFill>
                  <a:schemeClr val="dk1"/>
                </a:solidFill>
              </a:rPr>
              <a:t>pour atténuer l</a:t>
            </a:r>
            <a:r>
              <a:rPr lang="fr-CH" sz="1500" dirty="0">
                <a:solidFill>
                  <a:schemeClr val="dk1"/>
                </a:solidFill>
                <a:sym typeface="Arial"/>
              </a:rPr>
              <a:t>es risques financiers </a:t>
            </a:r>
            <a:br>
              <a:rPr lang="fr-CH" sz="1500" dirty="0">
                <a:solidFill>
                  <a:schemeClr val="dk1"/>
                </a:solidFill>
                <a:sym typeface="Arial"/>
              </a:rPr>
            </a:br>
            <a:r>
              <a:rPr lang="fr-CH" sz="1500" dirty="0">
                <a:solidFill>
                  <a:schemeClr val="dk1"/>
                </a:solidFill>
                <a:sym typeface="Arial"/>
              </a:rPr>
              <a:t>avec </a:t>
            </a:r>
            <a:r>
              <a:rPr lang="fr-CH" sz="1500" dirty="0">
                <a:solidFill>
                  <a:schemeClr val="dk1"/>
                </a:solidFill>
              </a:rPr>
              <a:t>la rémunération </a:t>
            </a:r>
            <a:r>
              <a:rPr lang="fr-CH" sz="1500" dirty="0" err="1">
                <a:solidFill>
                  <a:schemeClr val="dk1"/>
                </a:solidFill>
              </a:rPr>
              <a:t>minimale,la</a:t>
            </a:r>
            <a:r>
              <a:rPr lang="fr-CH" sz="1500" dirty="0">
                <a:solidFill>
                  <a:schemeClr val="dk1"/>
                </a:solidFill>
              </a:rPr>
              <a:t> prime de marché et les communautés électriques locales</a:t>
            </a:r>
          </a:p>
          <a:p>
            <a:pPr marL="285750" indent="-285750">
              <a:buClr>
                <a:schemeClr val="dk1"/>
              </a:buClr>
              <a:buSzPts val="1500"/>
              <a:buFont typeface="Arial" panose="020B0604020202020204" pitchFamily="34" charset="0"/>
              <a:buChar char="•"/>
            </a:pPr>
            <a:r>
              <a:rPr lang="fr-CH" sz="1500" dirty="0"/>
              <a:t>obligation du solaire pour les nouveaux bâtiments &gt; de 300 m2</a:t>
            </a:r>
          </a:p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 panose="020B0604020202020204" pitchFamily="34" charset="0"/>
              <a:buChar char="•"/>
            </a:pPr>
            <a:endParaRPr lang="fr-CH" sz="1500" dirty="0">
              <a:solidFill>
                <a:schemeClr val="dk1"/>
              </a:solidFill>
              <a:sym typeface="Arial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E53685CE-14A0-6105-6ACC-35C521514BD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6515" b="94697" l="9906" r="91195">
                        <a14:foregroundMark x1="46226" y1="57121" x2="46226" y2="57121"/>
                        <a14:foregroundMark x1="54560" y1="65606" x2="54560" y2="65606"/>
                        <a14:foregroundMark x1="52201" y1="57121" x2="52201" y2="57121"/>
                        <a14:foregroundMark x1="60849" y1="58636" x2="60849" y2="58636"/>
                        <a14:foregroundMark x1="80503" y1="55606" x2="80503" y2="55606"/>
                        <a14:foregroundMark x1="91195" y1="81970" x2="91195" y2="81970"/>
                        <a14:foregroundMark x1="25314" y1="91364" x2="25314" y2="91364"/>
                        <a14:foregroundMark x1="44182" y1="9394" x2="44182" y2="9394"/>
                        <a14:foregroundMark x1="39780" y1="6515" x2="50314" y2="6515"/>
                        <a14:backgroundMark x1="16667" y1="94848" x2="16667" y2="94848"/>
                        <a14:backgroundMark x1="16981" y1="95303" x2="16981" y2="95303"/>
                        <a14:backgroundMark x1="16509" y1="95909" x2="16509" y2="95909"/>
                        <a14:backgroundMark x1="16195" y1="94697" x2="16981" y2="96212"/>
                        <a14:backgroundMark x1="90566" y1="69545" x2="91509" y2="7303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849104" y="0"/>
            <a:ext cx="1297457" cy="134641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" name="Google Shape;190;p14"/>
          <p:cNvSpPr txBox="1"/>
          <p:nvPr/>
        </p:nvSpPr>
        <p:spPr>
          <a:xfrm>
            <a:off x="308314" y="1667604"/>
            <a:ext cx="3815126" cy="369291"/>
          </a:xfrm>
          <a:prstGeom prst="rect">
            <a:avLst/>
          </a:prstGeom>
          <a:solidFill>
            <a:srgbClr val="D7EAC4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fr-CH" sz="18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B158CE3-4AA7-D102-B8AD-7869AE0C5CB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552281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0"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158CE3-4AA7-D102-B8AD-7869AE0C5C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1" name="Google Shape;191;p14"/>
          <p:cNvSpPr txBox="1">
            <a:spLocks noGrp="1"/>
          </p:cNvSpPr>
          <p:nvPr>
            <p:ph type="title"/>
          </p:nvPr>
        </p:nvSpPr>
        <p:spPr>
          <a:xfrm>
            <a:off x="268232" y="350894"/>
            <a:ext cx="8229600" cy="734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ED2E38"/>
              </a:buClr>
              <a:buSzPts val="2400"/>
              <a:buFont typeface="Arial"/>
              <a:buNone/>
            </a:pPr>
            <a:r>
              <a:rPr lang="fr-CH" sz="2400" dirty="0">
                <a:solidFill>
                  <a:srgbClr val="82AC54"/>
                </a:solidFill>
              </a:rPr>
              <a:t>PESÉE D’INTÉRÊTS PRODUCTION / PROTECTION</a:t>
            </a:r>
          </a:p>
        </p:txBody>
      </p:sp>
      <p:sp>
        <p:nvSpPr>
          <p:cNvPr id="193" name="Google Shape;193;p14"/>
          <p:cNvSpPr txBox="1"/>
          <p:nvPr/>
        </p:nvSpPr>
        <p:spPr>
          <a:xfrm>
            <a:off x="4445962" y="1559656"/>
            <a:ext cx="4248000" cy="2477561"/>
          </a:xfrm>
          <a:prstGeom prst="rect">
            <a:avLst/>
          </a:prstGeom>
          <a:noFill/>
          <a:ln w="28575" cap="flat" cmpd="sng">
            <a:solidFill>
              <a:srgbClr val="82AC54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CH" sz="1500" b="1" dirty="0">
                <a:solidFill>
                  <a:schemeClr val="dk1"/>
                </a:solidFill>
                <a:sym typeface="Arial"/>
              </a:rPr>
              <a:t>… mais</a:t>
            </a:r>
            <a:r>
              <a:rPr lang="fr-CH" sz="1500" b="1" dirty="0">
                <a:solidFill>
                  <a:schemeClr val="dk1"/>
                </a:solidFill>
              </a:rPr>
              <a:t> pas de primauté absolue de l‘intérêt de production face à la protection de la nature et du paysage</a:t>
            </a:r>
            <a:endParaRPr lang="fr-CH" sz="1500" b="1" dirty="0">
              <a:solidFill>
                <a:schemeClr val="dk1"/>
              </a:solidFill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fr-CH" sz="1500" b="1" dirty="0">
              <a:solidFill>
                <a:schemeClr val="dk1"/>
              </a:solidFill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CH" sz="1500" b="1" dirty="0">
                <a:solidFill>
                  <a:schemeClr val="dk1"/>
                </a:solidFill>
              </a:rPr>
              <a:t>En principe intérêt prépondérant pour</a:t>
            </a:r>
            <a:endParaRPr lang="fr-CH" dirty="0"/>
          </a:p>
          <a:p>
            <a:pPr marL="285750" marR="0" lvl="0" indent="-285750" algn="l" rtl="0"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 panose="020B0604020202020204" pitchFamily="34" charset="0"/>
              <a:buChar char="•"/>
            </a:pPr>
            <a:r>
              <a:rPr lang="fr-CH" sz="1500" dirty="0">
                <a:solidFill>
                  <a:schemeClr val="dk1"/>
                </a:solidFill>
              </a:rPr>
              <a:t>les installations solaires et éoliennes dans les zones appropriées définies par les cantons pour l‘exploitation</a:t>
            </a:r>
          </a:p>
          <a:p>
            <a:pPr marL="285750" marR="0" lvl="0" indent="-285750" algn="l" rtl="0"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 panose="020B0604020202020204" pitchFamily="34" charset="0"/>
              <a:buChar char="•"/>
            </a:pPr>
            <a:r>
              <a:rPr lang="fr-CH" sz="1500" dirty="0">
                <a:solidFill>
                  <a:schemeClr val="dk1"/>
                </a:solidFill>
              </a:rPr>
              <a:t>les 16</a:t>
            </a:r>
            <a:r>
              <a:rPr lang="fr-CH" sz="1500" dirty="0">
                <a:solidFill>
                  <a:schemeClr val="dk1"/>
                </a:solidFill>
                <a:sym typeface="Arial"/>
              </a:rPr>
              <a:t> centrales hydroélectrique</a:t>
            </a:r>
            <a:r>
              <a:rPr lang="fr-CH" sz="1500" dirty="0">
                <a:solidFill>
                  <a:schemeClr val="dk1"/>
                </a:solidFill>
              </a:rPr>
              <a:t>s retenues</a:t>
            </a:r>
            <a:endParaRPr lang="fr-CH" dirty="0"/>
          </a:p>
        </p:txBody>
      </p:sp>
      <p:sp>
        <p:nvSpPr>
          <p:cNvPr id="194" name="Google Shape;194;p14"/>
          <p:cNvSpPr/>
          <p:nvPr/>
        </p:nvSpPr>
        <p:spPr>
          <a:xfrm rot="5400000">
            <a:off x="3464769" y="2400381"/>
            <a:ext cx="1631217" cy="316845"/>
          </a:xfrm>
          <a:prstGeom prst="triangle">
            <a:avLst>
              <a:gd name="adj" fmla="val 50000"/>
            </a:avLst>
          </a:prstGeom>
          <a:solidFill>
            <a:srgbClr val="82AC54"/>
          </a:solidFill>
          <a:ln>
            <a:solidFill>
              <a:srgbClr val="82AC54"/>
            </a:solidFill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lang="fr-CH"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D65E50C-FE17-4DC4-9EFE-FB3383467A7E}"/>
              </a:ext>
            </a:extLst>
          </p:cNvPr>
          <p:cNvSpPr/>
          <p:nvPr/>
        </p:nvSpPr>
        <p:spPr>
          <a:xfrm>
            <a:off x="308314" y="1667604"/>
            <a:ext cx="3806479" cy="1823716"/>
          </a:xfrm>
          <a:prstGeom prst="rect">
            <a:avLst/>
          </a:prstGeom>
          <a:solidFill>
            <a:srgbClr val="D7EAC4"/>
          </a:solidFill>
          <a:ln>
            <a:solidFill>
              <a:srgbClr val="D7EA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B5441577-F7C4-66F3-5BB2-A1D97103A99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6515" b="94697" l="9906" r="91195">
                        <a14:foregroundMark x1="46226" y1="57121" x2="46226" y2="57121"/>
                        <a14:foregroundMark x1="54560" y1="65606" x2="54560" y2="65606"/>
                        <a14:foregroundMark x1="52201" y1="57121" x2="52201" y2="57121"/>
                        <a14:foregroundMark x1="60849" y1="58636" x2="60849" y2="58636"/>
                        <a14:foregroundMark x1="80503" y1="55606" x2="80503" y2="55606"/>
                        <a14:foregroundMark x1="91195" y1="81970" x2="91195" y2="81970"/>
                        <a14:foregroundMark x1="25314" y1="91364" x2="25314" y2="91364"/>
                        <a14:foregroundMark x1="44182" y1="9394" x2="44182" y2="9394"/>
                        <a14:foregroundMark x1="39780" y1="6515" x2="50314" y2="6515"/>
                        <a14:backgroundMark x1="16667" y1="94848" x2="16667" y2="94848"/>
                        <a14:backgroundMark x1="16981" y1="95303" x2="16981" y2="95303"/>
                        <a14:backgroundMark x1="16509" y1="95909" x2="16509" y2="95909"/>
                        <a14:backgroundMark x1="16195" y1="94697" x2="16981" y2="96212"/>
                        <a14:backgroundMark x1="90566" y1="69545" x2="91509" y2="7303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849104" y="0"/>
            <a:ext cx="1297457" cy="1346418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58405137-282D-4C74-B0A2-9467A9EE51C3}"/>
              </a:ext>
            </a:extLst>
          </p:cNvPr>
          <p:cNvSpPr txBox="1"/>
          <p:nvPr/>
        </p:nvSpPr>
        <p:spPr>
          <a:xfrm>
            <a:off x="525652" y="1880179"/>
            <a:ext cx="3280943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rtl="0"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500"/>
            </a:pPr>
            <a:r>
              <a:rPr lang="fr-CH" sz="1400" b="1" dirty="0">
                <a:solidFill>
                  <a:schemeClr val="dk1"/>
                </a:solidFill>
                <a:sym typeface="Arial"/>
              </a:rPr>
              <a:t>INTÊRET NATIONAL pour les grandes installation</a:t>
            </a:r>
            <a:r>
              <a:rPr lang="fr-CH" sz="1400" b="1" dirty="0">
                <a:solidFill>
                  <a:schemeClr val="dk1"/>
                </a:solidFill>
              </a:rPr>
              <a:t>s</a:t>
            </a:r>
            <a:endParaRPr lang="fr-CH" sz="1400" b="1" dirty="0">
              <a:solidFill>
                <a:schemeClr val="dk1"/>
              </a:solidFill>
              <a:sym typeface="Arial"/>
            </a:endParaRPr>
          </a:p>
          <a:p>
            <a:pPr marL="285750" marR="0" lvl="0" indent="-285750" algn="l" rtl="0"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 panose="020B0604020202020204" pitchFamily="34" charset="0"/>
              <a:buChar char="•"/>
            </a:pPr>
            <a:r>
              <a:rPr lang="fr-CH" sz="1400" dirty="0">
                <a:solidFill>
                  <a:schemeClr val="dk1"/>
                </a:solidFill>
                <a:sym typeface="Arial"/>
              </a:rPr>
              <a:t>Équivalent aux autres intérêts nationaux</a:t>
            </a:r>
            <a:endParaRPr lang="fr-CH" dirty="0">
              <a:solidFill>
                <a:schemeClr val="dk1"/>
              </a:solidFill>
            </a:endParaRPr>
          </a:p>
          <a:p>
            <a:pPr marL="285750" marR="0" lvl="0" indent="-285750" algn="l" rtl="0"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 panose="020B0604020202020204" pitchFamily="34" charset="0"/>
              <a:buChar char="•"/>
            </a:pPr>
            <a:r>
              <a:rPr lang="fr-CH" dirty="0">
                <a:solidFill>
                  <a:schemeClr val="dk1"/>
                </a:solidFill>
              </a:rPr>
              <a:t>Pesée des intérêts (toujours)</a:t>
            </a:r>
            <a:endParaRPr lang="fr-CH" sz="1400" dirty="0">
              <a:solidFill>
                <a:schemeClr val="dk1"/>
              </a:solidFill>
              <a:sym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CD7AC0F6-E45A-6AED-32FE-31760F492AD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312278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5"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7AC0F6-E45A-6AED-32FE-31760F492A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9" name="Google Shape;199;p15"/>
          <p:cNvSpPr txBox="1">
            <a:spLocks noGrp="1"/>
          </p:cNvSpPr>
          <p:nvPr>
            <p:ph type="title"/>
          </p:nvPr>
        </p:nvSpPr>
        <p:spPr>
          <a:xfrm>
            <a:off x="457200" y="205979"/>
            <a:ext cx="8229600" cy="734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ED2E38"/>
              </a:buClr>
              <a:buSzPts val="2400"/>
              <a:buFont typeface="Arial"/>
              <a:buNone/>
            </a:pPr>
            <a:r>
              <a:rPr lang="fr-FR" sz="2400" dirty="0">
                <a:solidFill>
                  <a:srgbClr val="82AC54"/>
                </a:solidFill>
              </a:rPr>
              <a:t>LA PROTECTION N‘EST PAS AFFAIBLIE</a:t>
            </a:r>
          </a:p>
        </p:txBody>
      </p:sp>
      <p:sp>
        <p:nvSpPr>
          <p:cNvPr id="200" name="Google Shape;200;p15"/>
          <p:cNvSpPr txBox="1"/>
          <p:nvPr/>
        </p:nvSpPr>
        <p:spPr>
          <a:xfrm>
            <a:off x="550695" y="4172550"/>
            <a:ext cx="8229600" cy="553957"/>
          </a:xfrm>
          <a:prstGeom prst="rect">
            <a:avLst/>
          </a:prstGeom>
          <a:solidFill>
            <a:srgbClr val="92D050">
              <a:alpha val="49803"/>
            </a:srgbClr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342900" marR="0" lvl="0" indent="-34290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→"/>
            </a:pPr>
            <a:r>
              <a:rPr lang="fr-FR" sz="1500" dirty="0">
                <a:solidFill>
                  <a:schemeClr val="dk1"/>
                </a:solidFill>
              </a:rPr>
              <a:t>Les biotopes restent protégés.</a:t>
            </a:r>
            <a:br>
              <a:rPr lang="fr-FR" sz="1500" dirty="0">
                <a:solidFill>
                  <a:schemeClr val="dk1"/>
                </a:solidFill>
              </a:rPr>
            </a:br>
            <a:r>
              <a:rPr lang="fr-FR" sz="1500" dirty="0">
                <a:solidFill>
                  <a:schemeClr val="dk1"/>
                </a:solidFill>
              </a:rPr>
              <a:t>Les lieux situés hors des zones délimitées seront moins intéressants </a:t>
            </a:r>
            <a:r>
              <a:rPr lang="fr-FR" sz="1500" dirty="0">
                <a:solidFill>
                  <a:schemeClr val="dk1"/>
                </a:solidFill>
                <a:sym typeface="Wingdings" panose="05000000000000000000" pitchFamily="2" charset="2"/>
              </a:rPr>
              <a:t></a:t>
            </a:r>
            <a:r>
              <a:rPr lang="fr-FR" sz="1500" dirty="0">
                <a:solidFill>
                  <a:schemeClr val="dk1"/>
                </a:solidFill>
              </a:rPr>
              <a:t> pression diminue.</a:t>
            </a:r>
          </a:p>
        </p:txBody>
      </p:sp>
      <p:sp>
        <p:nvSpPr>
          <p:cNvPr id="201" name="Google Shape;201;p15"/>
          <p:cNvSpPr/>
          <p:nvPr/>
        </p:nvSpPr>
        <p:spPr>
          <a:xfrm>
            <a:off x="4571997" y="1145834"/>
            <a:ext cx="4494511" cy="3219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200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Zones</a:t>
            </a:r>
            <a:r>
              <a:rPr lang="de-DE" sz="12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IFP et </a:t>
            </a:r>
            <a:r>
              <a:rPr lang="de-DE" sz="1200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biotopes</a:t>
            </a:r>
            <a:r>
              <a:rPr lang="de-DE" sz="12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de-DE" sz="1200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‘importance</a:t>
            </a:r>
            <a:r>
              <a:rPr lang="de-DE" sz="12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nationale</a:t>
            </a:r>
            <a:endParaRPr dirty="0"/>
          </a:p>
        </p:txBody>
      </p:sp>
      <p:sp>
        <p:nvSpPr>
          <p:cNvPr id="202" name="Google Shape;202;p15"/>
          <p:cNvSpPr txBox="1"/>
          <p:nvPr/>
        </p:nvSpPr>
        <p:spPr>
          <a:xfrm>
            <a:off x="1" y="4945331"/>
            <a:ext cx="1108363" cy="1961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675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urce </a:t>
            </a:r>
            <a:r>
              <a:rPr lang="de-DE" sz="675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‘image</a:t>
            </a:r>
            <a:r>
              <a:rPr lang="de-DE" sz="675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: swisstopo</a:t>
            </a:r>
            <a:endParaRPr dirty="0"/>
          </a:p>
        </p:txBody>
      </p:sp>
      <p:sp>
        <p:nvSpPr>
          <p:cNvPr id="203" name="Google Shape;203;p15"/>
          <p:cNvSpPr txBox="1"/>
          <p:nvPr/>
        </p:nvSpPr>
        <p:spPr>
          <a:xfrm>
            <a:off x="379700" y="936150"/>
            <a:ext cx="4114805" cy="29776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5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Zones </a:t>
            </a:r>
            <a:r>
              <a:rPr lang="fr-FR" sz="1500" b="1" dirty="0">
                <a:solidFill>
                  <a:schemeClr val="dk1"/>
                </a:solidFill>
              </a:rPr>
              <a:t>se prêtant à l’exploitation </a:t>
            </a:r>
            <a:r>
              <a:rPr lang="fr-FR" sz="15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our le solaire et l’éolien : </a:t>
            </a:r>
            <a:endParaRPr lang="fr-FR" dirty="0"/>
          </a:p>
          <a:p>
            <a:pPr marL="285750" marR="0" lvl="0" indent="-285750" algn="l" rtl="0"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</a:pPr>
            <a:r>
              <a:rPr lang="fr-FR" sz="1500" dirty="0">
                <a:solidFill>
                  <a:schemeClr val="dk1"/>
                </a:solidFill>
              </a:rPr>
              <a:t>Définies par les cantons</a:t>
            </a:r>
            <a:r>
              <a:rPr lang="fr-FR" sz="15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dans leurs </a:t>
            </a:r>
            <a:r>
              <a:rPr lang="fr-FR" sz="15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lans directeurs </a:t>
            </a:r>
            <a:r>
              <a:rPr lang="fr-FR" sz="15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en tenant compte de la protection du paysage, de la nature et des forêts</a:t>
            </a:r>
            <a:r>
              <a:rPr lang="fr-FR" sz="1500" dirty="0">
                <a:solidFill>
                  <a:schemeClr val="dk1"/>
                </a:solidFill>
              </a:rPr>
              <a:t>. D</a:t>
            </a:r>
            <a:r>
              <a:rPr lang="fr-FR" sz="15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oit de recours </a:t>
            </a:r>
            <a:r>
              <a:rPr lang="fr-FR" sz="1500" dirty="0">
                <a:solidFill>
                  <a:schemeClr val="dk1"/>
                </a:solidFill>
              </a:rPr>
              <a:t>pour les ONG et communes</a:t>
            </a:r>
            <a:endParaRPr lang="fr-FR" sz="150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285750" algn="l" rtl="0"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</a:pPr>
            <a:r>
              <a:rPr lang="fr-FR" sz="15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Biotopes d‘importance nationale</a:t>
            </a:r>
            <a:r>
              <a:rPr lang="fr-FR" sz="15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sont exclus</a:t>
            </a:r>
            <a:endParaRPr lang="fr-FR" sz="1500" b="1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285750" algn="l" rtl="0">
              <a:spcBef>
                <a:spcPts val="9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</a:pPr>
            <a:r>
              <a:rPr lang="fr-FR" sz="1500" dirty="0">
                <a:solidFill>
                  <a:schemeClr val="dk1"/>
                </a:solidFill>
              </a:rPr>
              <a:t>Dans </a:t>
            </a:r>
            <a:r>
              <a:rPr lang="fr-FR" sz="1500" b="1" dirty="0">
                <a:solidFill>
                  <a:schemeClr val="dk1"/>
                </a:solidFill>
              </a:rPr>
              <a:t>zones</a:t>
            </a:r>
            <a:r>
              <a:rPr lang="fr-FR" sz="1500" dirty="0">
                <a:solidFill>
                  <a:schemeClr val="dk1"/>
                </a:solidFill>
              </a:rPr>
              <a:t> </a:t>
            </a:r>
            <a:r>
              <a:rPr lang="fr-FR" sz="1500" b="1" dirty="0">
                <a:solidFill>
                  <a:schemeClr val="dk1"/>
                </a:solidFill>
              </a:rPr>
              <a:t>IFP</a:t>
            </a:r>
            <a:r>
              <a:rPr lang="fr-FR" sz="1500" dirty="0">
                <a:solidFill>
                  <a:schemeClr val="dk1"/>
                </a:solidFill>
              </a:rPr>
              <a:t>, pas de priorisation des intérêts énergétique.</a:t>
            </a:r>
          </a:p>
        </p:txBody>
      </p:sp>
      <p:pic>
        <p:nvPicPr>
          <p:cNvPr id="204" name="Google Shape;204;p15"/>
          <p:cNvPicPr preferRelativeResize="0"/>
          <p:nvPr/>
        </p:nvPicPr>
        <p:blipFill rotWithShape="1"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1997" y="1404536"/>
            <a:ext cx="4208298" cy="2715464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214E0DE6-072B-F3DF-5411-B02BF0B950F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6515" b="94697" l="9906" r="91195">
                        <a14:foregroundMark x1="46226" y1="57121" x2="46226" y2="57121"/>
                        <a14:foregroundMark x1="54560" y1="65606" x2="54560" y2="65606"/>
                        <a14:foregroundMark x1="52201" y1="57121" x2="52201" y2="57121"/>
                        <a14:foregroundMark x1="60849" y1="58636" x2="60849" y2="58636"/>
                        <a14:foregroundMark x1="80503" y1="55606" x2="80503" y2="55606"/>
                        <a14:foregroundMark x1="91195" y1="81970" x2="91195" y2="81970"/>
                        <a14:foregroundMark x1="25314" y1="91364" x2="25314" y2="91364"/>
                        <a14:foregroundMark x1="44182" y1="9394" x2="44182" y2="9394"/>
                        <a14:foregroundMark x1="39780" y1="6515" x2="50314" y2="6515"/>
                        <a14:backgroundMark x1="16667" y1="94848" x2="16667" y2="94848"/>
                        <a14:backgroundMark x1="16981" y1="95303" x2="16981" y2="95303"/>
                        <a14:backgroundMark x1="16509" y1="95909" x2="16509" y2="95909"/>
                        <a14:backgroundMark x1="16195" y1="94697" x2="16981" y2="96212"/>
                        <a14:backgroundMark x1="90566" y1="69545" x2="91509" y2="7303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849104" y="0"/>
            <a:ext cx="1297457" cy="134641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2223840C-CCBA-0F47-E35E-235D9E108F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436029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8"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9" name="Google Shape;209;p16"/>
          <p:cNvSpPr txBox="1">
            <a:spLocks noGrp="1"/>
          </p:cNvSpPr>
          <p:nvPr>
            <p:ph type="title"/>
          </p:nvPr>
        </p:nvSpPr>
        <p:spPr>
          <a:xfrm>
            <a:off x="457200" y="205979"/>
            <a:ext cx="8229600" cy="734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ED2E38"/>
              </a:buClr>
              <a:buSzPts val="2400"/>
              <a:buFont typeface="Arial"/>
              <a:buNone/>
            </a:pPr>
            <a:r>
              <a:rPr lang="fr-CH" sz="2400">
                <a:solidFill>
                  <a:srgbClr val="82AC54"/>
                </a:solidFill>
              </a:rPr>
              <a:t>L‘HYDROÉLECTRICITÉ EN HIVER</a:t>
            </a:r>
            <a:endParaRPr lang="fr-CH">
              <a:solidFill>
                <a:srgbClr val="82AC54"/>
              </a:solidFill>
            </a:endParaRPr>
          </a:p>
        </p:txBody>
      </p:sp>
      <p:pic>
        <p:nvPicPr>
          <p:cNvPr id="210" name="Google Shape;210;p16" descr="Hospiz: Baustellenführung Staumauer Spitallamm | Grimselwelt"/>
          <p:cNvPicPr preferRelativeResize="0"/>
          <p:nvPr/>
        </p:nvPicPr>
        <p:blipFill rotWithShape="1"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785" y="1272765"/>
            <a:ext cx="4261088" cy="2843065"/>
          </a:xfrm>
          <a:prstGeom prst="rect">
            <a:avLst/>
          </a:prstGeom>
          <a:noFill/>
          <a:ln>
            <a:noFill/>
          </a:ln>
        </p:spPr>
      </p:pic>
      <p:sp>
        <p:nvSpPr>
          <p:cNvPr id="211" name="Google Shape;211;p16"/>
          <p:cNvSpPr txBox="1"/>
          <p:nvPr/>
        </p:nvSpPr>
        <p:spPr>
          <a:xfrm>
            <a:off x="4776750" y="1330452"/>
            <a:ext cx="3828600" cy="2785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CH" sz="15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16 c</a:t>
            </a:r>
            <a:r>
              <a:rPr lang="fr-CH" sz="1500" b="1" dirty="0">
                <a:solidFill>
                  <a:schemeClr val="dk1"/>
                </a:solidFill>
              </a:rPr>
              <a:t>entrales hydroélectriques</a:t>
            </a:r>
            <a:endParaRPr lang="fr-CH" dirty="0"/>
          </a:p>
          <a:p>
            <a:pPr marL="285750" marR="0" lvl="0" indent="-285750" algn="l" rtl="0"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</a:pPr>
            <a:r>
              <a:rPr lang="fr-CH" sz="1500" b="1" dirty="0">
                <a:solidFill>
                  <a:schemeClr val="dk1"/>
                </a:solidFill>
              </a:rPr>
              <a:t>Négociés lors</a:t>
            </a:r>
            <a:r>
              <a:rPr lang="fr-CH" sz="15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de la Table ronde </a:t>
            </a:r>
          </a:p>
          <a:p>
            <a:pPr marL="285750" marR="0" lvl="0" indent="-285750" algn="l" rtl="0"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</a:pPr>
            <a:r>
              <a:rPr lang="fr-CH" sz="15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r>
              <a:rPr lang="fr-CH" sz="1500" b="1" dirty="0">
                <a:solidFill>
                  <a:schemeClr val="dk1"/>
                </a:solidFill>
              </a:rPr>
              <a:t>3</a:t>
            </a:r>
            <a:r>
              <a:rPr lang="fr-CH" sz="15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surélévations de barrage</a:t>
            </a:r>
            <a:br>
              <a:rPr lang="fr-CH" sz="15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fr-CH" sz="1500" b="1" dirty="0">
                <a:solidFill>
                  <a:schemeClr val="dk1"/>
                </a:solidFill>
              </a:rPr>
              <a:t> </a:t>
            </a:r>
            <a:r>
              <a:rPr lang="fr-CH" sz="1500" dirty="0">
                <a:solidFill>
                  <a:schemeClr val="dk1"/>
                </a:solidFill>
              </a:rPr>
              <a:t>3</a:t>
            </a:r>
            <a:r>
              <a:rPr lang="fr-CH" sz="15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nouveau projets</a:t>
            </a:r>
            <a:endParaRPr lang="fr-CH" dirty="0"/>
          </a:p>
          <a:p>
            <a:pPr marL="285750" marR="0" lvl="0" indent="-285750" algn="l" rtl="0"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</a:pPr>
            <a:r>
              <a:rPr lang="fr-CH" sz="15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Mesures de remplacement et de compensation </a:t>
            </a:r>
            <a:r>
              <a:rPr lang="fr-CH" sz="15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négociées avec les organisations environnementales.</a:t>
            </a:r>
            <a:endParaRPr lang="fr-CH" sz="1500" b="1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285750" marR="0" lvl="0" indent="-285750" algn="l" rtl="0"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</a:pPr>
            <a:r>
              <a:rPr lang="fr-CH" sz="15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But : électricité supplémentaire en hiver (</a:t>
            </a:r>
            <a:r>
              <a:rPr lang="fr-CH" sz="15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environ 2 TWh).</a:t>
            </a:r>
            <a:endParaRPr lang="fr-CH" sz="1500" b="1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2" name="Google Shape;212;p16"/>
          <p:cNvSpPr txBox="1"/>
          <p:nvPr/>
        </p:nvSpPr>
        <p:spPr>
          <a:xfrm>
            <a:off x="1" y="4945331"/>
            <a:ext cx="1052944" cy="1961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CH" sz="675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Bsource d‘image: KWO</a:t>
            </a:r>
            <a:endParaRPr lang="fr-CH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7583A44-E9D5-B27B-821A-1806CB1AD22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6515" b="94697" l="9906" r="91195">
                        <a14:foregroundMark x1="46226" y1="57121" x2="46226" y2="57121"/>
                        <a14:foregroundMark x1="54560" y1="65606" x2="54560" y2="65606"/>
                        <a14:foregroundMark x1="52201" y1="57121" x2="52201" y2="57121"/>
                        <a14:foregroundMark x1="60849" y1="58636" x2="60849" y2="58636"/>
                        <a14:foregroundMark x1="80503" y1="55606" x2="80503" y2="55606"/>
                        <a14:foregroundMark x1="91195" y1="81970" x2="91195" y2="81970"/>
                        <a14:foregroundMark x1="25314" y1="91364" x2="25314" y2="91364"/>
                        <a14:foregroundMark x1="44182" y1="9394" x2="44182" y2="9394"/>
                        <a14:foregroundMark x1="39780" y1="6515" x2="50314" y2="6515"/>
                        <a14:backgroundMark x1="16667" y1="94848" x2="16667" y2="94848"/>
                        <a14:backgroundMark x1="16981" y1="95303" x2="16981" y2="95303"/>
                        <a14:backgroundMark x1="16509" y1="95909" x2="16509" y2="95909"/>
                        <a14:backgroundMark x1="16195" y1="94697" x2="16981" y2="96212"/>
                        <a14:backgroundMark x1="90566" y1="69545" x2="91509" y2="7303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849104" y="0"/>
            <a:ext cx="1297457" cy="1346418"/>
          </a:xfrm>
          <a:prstGeom prst="rect">
            <a:avLst/>
          </a:prstGeom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C352DECF-C118-B9F2-C6F2-DEF7AFD207C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373898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5"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7" name="Google Shape;217;p17"/>
          <p:cNvSpPr txBox="1">
            <a:spLocks noGrp="1"/>
          </p:cNvSpPr>
          <p:nvPr>
            <p:ph type="title"/>
          </p:nvPr>
        </p:nvSpPr>
        <p:spPr>
          <a:xfrm>
            <a:off x="457200" y="205979"/>
            <a:ext cx="8229600" cy="734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ED2E38"/>
              </a:buClr>
              <a:buSzPts val="2400"/>
              <a:buFont typeface="Arial"/>
              <a:buNone/>
            </a:pPr>
            <a:r>
              <a:rPr lang="de-DE" sz="2400" dirty="0">
                <a:solidFill>
                  <a:srgbClr val="82AC54"/>
                </a:solidFill>
              </a:rPr>
              <a:t>MESURES CONTRE LE GASPILLAGE D‘ÉNERGIE</a:t>
            </a:r>
            <a:endParaRPr dirty="0">
              <a:solidFill>
                <a:srgbClr val="82AC54"/>
              </a:solidFill>
            </a:endParaRPr>
          </a:p>
        </p:txBody>
      </p:sp>
      <p:sp>
        <p:nvSpPr>
          <p:cNvPr id="218" name="Google Shape;218;p17"/>
          <p:cNvSpPr txBox="1"/>
          <p:nvPr/>
        </p:nvSpPr>
        <p:spPr>
          <a:xfrm>
            <a:off x="997200" y="2326645"/>
            <a:ext cx="3769492" cy="17850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85750" marR="0" lvl="0" indent="-28575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</a:pPr>
            <a:r>
              <a:rPr lang="fr-CH" sz="1500" b="1" dirty="0">
                <a:solidFill>
                  <a:schemeClr val="dk1"/>
                </a:solidFill>
                <a:sym typeface="Arial"/>
              </a:rPr>
              <a:t>Objectifs annuel</a:t>
            </a:r>
            <a:r>
              <a:rPr lang="fr-CH" sz="1500" dirty="0">
                <a:solidFill>
                  <a:schemeClr val="dk1"/>
                </a:solidFill>
                <a:sym typeface="Arial"/>
              </a:rPr>
              <a:t> pour </a:t>
            </a:r>
            <a:r>
              <a:rPr lang="fr-CH" sz="1500" dirty="0">
                <a:solidFill>
                  <a:schemeClr val="dk1"/>
                </a:solidFill>
              </a:rPr>
              <a:t>les fournisseurs d’électricité</a:t>
            </a:r>
            <a:endParaRPr lang="fr-CH" dirty="0"/>
          </a:p>
          <a:p>
            <a:pPr marL="285750" marR="0" lvl="0" indent="-285750" algn="l" rtl="0"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</a:pPr>
            <a:r>
              <a:rPr lang="fr-CH" sz="1500" b="1" dirty="0">
                <a:solidFill>
                  <a:schemeClr val="dk1"/>
                </a:solidFill>
                <a:sym typeface="Arial"/>
              </a:rPr>
              <a:t>Mesures</a:t>
            </a:r>
            <a:r>
              <a:rPr lang="fr-CH" sz="1500" dirty="0">
                <a:solidFill>
                  <a:schemeClr val="dk1"/>
                </a:solidFill>
                <a:sym typeface="Arial"/>
              </a:rPr>
              <a:t> à proposer aux consommateurs finaux</a:t>
            </a:r>
          </a:p>
          <a:p>
            <a:pPr marL="285750" lvl="0" indent="-285750">
              <a:spcBef>
                <a:spcPts val="1200"/>
              </a:spcBef>
              <a:buClr>
                <a:schemeClr val="dk1"/>
              </a:buClr>
              <a:buSzPts val="1500"/>
              <a:buFont typeface="Arial"/>
              <a:buChar char="•"/>
            </a:pPr>
            <a:r>
              <a:rPr lang="fr-CH" sz="1500" dirty="0"/>
              <a:t>Marché pour les prestations d’efficience</a:t>
            </a:r>
          </a:p>
        </p:txBody>
      </p:sp>
      <p:sp>
        <p:nvSpPr>
          <p:cNvPr id="220" name="Google Shape;220;p17"/>
          <p:cNvSpPr/>
          <p:nvPr/>
        </p:nvSpPr>
        <p:spPr>
          <a:xfrm>
            <a:off x="4284605" y="2715875"/>
            <a:ext cx="4056887" cy="2254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CH" sz="1200" dirty="0">
                <a:solidFill>
                  <a:schemeClr val="dk1"/>
                </a:solidFill>
              </a:rPr>
              <a:t>Généraliser des programmes comme Eco21 des SIG</a:t>
            </a:r>
            <a:endParaRPr lang="fr-CH" dirty="0"/>
          </a:p>
        </p:txBody>
      </p:sp>
      <p:sp>
        <p:nvSpPr>
          <p:cNvPr id="221" name="Google Shape;221;p17"/>
          <p:cNvSpPr/>
          <p:nvPr/>
        </p:nvSpPr>
        <p:spPr>
          <a:xfrm>
            <a:off x="1107308" y="1099698"/>
            <a:ext cx="6626346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500" b="1" dirty="0">
                <a:solidFill>
                  <a:schemeClr val="dk1"/>
                </a:solidFill>
                <a:sym typeface="Arial"/>
              </a:rPr>
              <a:t>Objectif d‘efficacité énergétique </a:t>
            </a:r>
            <a:r>
              <a:rPr lang="fr-FR" sz="1500" dirty="0">
                <a:solidFill>
                  <a:schemeClr val="dk1"/>
                </a:solidFill>
                <a:sym typeface="Arial"/>
              </a:rPr>
              <a:t>: réduire la consommation de 2 TWh/a </a:t>
            </a:r>
            <a:r>
              <a:rPr lang="fr-FR" sz="1500" dirty="0">
                <a:solidFill>
                  <a:schemeClr val="dk1"/>
                </a:solidFill>
              </a:rPr>
              <a:t>d‘ici 2035</a:t>
            </a:r>
            <a:endParaRPr lang="fr-FR" dirty="0"/>
          </a:p>
        </p:txBody>
      </p:sp>
      <p:sp>
        <p:nvSpPr>
          <p:cNvPr id="222" name="Google Shape;222;p17"/>
          <p:cNvSpPr/>
          <p:nvPr/>
        </p:nvSpPr>
        <p:spPr>
          <a:xfrm>
            <a:off x="457200" y="1042709"/>
            <a:ext cx="540000" cy="540000"/>
          </a:xfrm>
          <a:prstGeom prst="ellipse">
            <a:avLst/>
          </a:prstGeom>
          <a:solidFill>
            <a:srgbClr val="D7EAC4">
              <a:alpha val="49803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800" b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/>
          </a:p>
        </p:txBody>
      </p:sp>
      <p:sp>
        <p:nvSpPr>
          <p:cNvPr id="223" name="Google Shape;223;p17"/>
          <p:cNvSpPr/>
          <p:nvPr/>
        </p:nvSpPr>
        <p:spPr>
          <a:xfrm>
            <a:off x="457200" y="1684677"/>
            <a:ext cx="540000" cy="540000"/>
          </a:xfrm>
          <a:prstGeom prst="ellipse">
            <a:avLst/>
          </a:prstGeom>
          <a:solidFill>
            <a:srgbClr val="D7EAC4">
              <a:alpha val="49803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800" b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/>
          </a:p>
        </p:txBody>
      </p:sp>
      <p:sp>
        <p:nvSpPr>
          <p:cNvPr id="224" name="Google Shape;224;p17"/>
          <p:cNvSpPr/>
          <p:nvPr/>
        </p:nvSpPr>
        <p:spPr>
          <a:xfrm>
            <a:off x="1107308" y="1791498"/>
            <a:ext cx="7020691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CH" sz="15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Gains d‘efficacité par les fournisseurs d‘électricité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6B8FE07D-4284-C9A9-4787-9D0D11A14EB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6515" b="94697" l="9906" r="91195">
                        <a14:foregroundMark x1="46226" y1="57121" x2="46226" y2="57121"/>
                        <a14:foregroundMark x1="54560" y1="65606" x2="54560" y2="65606"/>
                        <a14:foregroundMark x1="52201" y1="57121" x2="52201" y2="57121"/>
                        <a14:foregroundMark x1="60849" y1="58636" x2="60849" y2="58636"/>
                        <a14:foregroundMark x1="80503" y1="55606" x2="80503" y2="55606"/>
                        <a14:foregroundMark x1="91195" y1="81970" x2="91195" y2="81970"/>
                        <a14:foregroundMark x1="25314" y1="91364" x2="25314" y2="91364"/>
                        <a14:foregroundMark x1="44182" y1="9394" x2="44182" y2="9394"/>
                        <a14:foregroundMark x1="39780" y1="6515" x2="50314" y2="6515"/>
                        <a14:backgroundMark x1="16667" y1="94848" x2="16667" y2="94848"/>
                        <a14:backgroundMark x1="16981" y1="95303" x2="16981" y2="95303"/>
                        <a14:backgroundMark x1="16509" y1="95909" x2="16509" y2="95909"/>
                        <a14:backgroundMark x1="16195" y1="94697" x2="16981" y2="96212"/>
                        <a14:backgroundMark x1="90566" y1="69545" x2="91509" y2="7303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849104" y="0"/>
            <a:ext cx="1297457" cy="1346418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21BB3F18-AEAA-4124-8277-E809729E136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091452" y="3011587"/>
            <a:ext cx="4925280" cy="141094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8FB7038-805D-1688-B38B-6085C26E181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329940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9"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2" name="Google Shape;252;p19"/>
          <p:cNvSpPr txBox="1">
            <a:spLocks noGrp="1"/>
          </p:cNvSpPr>
          <p:nvPr>
            <p:ph type="title"/>
          </p:nvPr>
        </p:nvSpPr>
        <p:spPr>
          <a:xfrm>
            <a:off x="457200" y="205979"/>
            <a:ext cx="8229600" cy="734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ED2E38"/>
              </a:buClr>
              <a:buSzPts val="2400"/>
              <a:buFont typeface="Arial"/>
              <a:buNone/>
            </a:pPr>
            <a:r>
              <a:rPr lang="de-DE" sz="2400" dirty="0">
                <a:solidFill>
                  <a:srgbClr val="82AC54"/>
                </a:solidFill>
              </a:rPr>
              <a:t>ET CECI COÛTE COMBIEN ?</a:t>
            </a:r>
            <a:endParaRPr dirty="0">
              <a:solidFill>
                <a:srgbClr val="82AC54"/>
              </a:solidFill>
            </a:endParaRPr>
          </a:p>
        </p:txBody>
      </p:sp>
      <p:pic>
        <p:nvPicPr>
          <p:cNvPr id="253" name="Google Shape;253;p19"/>
          <p:cNvPicPr preferRelativeResize="0"/>
          <p:nvPr/>
        </p:nvPicPr>
        <p:blipFill rotWithShape="1"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58060" y="996709"/>
            <a:ext cx="4184726" cy="3812643"/>
          </a:xfrm>
          <a:prstGeom prst="rect">
            <a:avLst/>
          </a:prstGeom>
          <a:noFill/>
          <a:ln>
            <a:noFill/>
          </a:ln>
        </p:spPr>
      </p:pic>
      <p:sp>
        <p:nvSpPr>
          <p:cNvPr id="254" name="Google Shape;254;p19"/>
          <p:cNvSpPr txBox="1"/>
          <p:nvPr/>
        </p:nvSpPr>
        <p:spPr>
          <a:xfrm>
            <a:off x="1" y="4945332"/>
            <a:ext cx="1106423" cy="1961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675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urce </a:t>
            </a:r>
            <a:r>
              <a:rPr lang="de-DE" sz="675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‘image</a:t>
            </a:r>
            <a:r>
              <a:rPr lang="de-DE" sz="675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: </a:t>
            </a:r>
            <a:r>
              <a:rPr lang="de-DE" sz="675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wissolar</a:t>
            </a:r>
            <a:endParaRPr sz="675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5" name="Google Shape;255;p19"/>
          <p:cNvSpPr txBox="1"/>
          <p:nvPr/>
        </p:nvSpPr>
        <p:spPr>
          <a:xfrm>
            <a:off x="457200" y="1151597"/>
            <a:ext cx="4200860" cy="1200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CH" sz="15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Pas de nouvelles taxes et impôts</a:t>
            </a:r>
            <a:endParaRPr lang="fr-CH" dirty="0"/>
          </a:p>
          <a:p>
            <a:pPr marL="285750" marR="0" lvl="0" indent="-285750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</a:pPr>
            <a:r>
              <a:rPr lang="fr-CH" dirty="0">
                <a:solidFill>
                  <a:schemeClr val="dk1"/>
                </a:solidFill>
              </a:rPr>
              <a:t>le s</a:t>
            </a:r>
            <a:r>
              <a:rPr lang="fr-CH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upplément réseau reste à 2,3 ct/kWh</a:t>
            </a:r>
          </a:p>
          <a:p>
            <a:pPr marL="285750" marR="0" lvl="0" indent="-285750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</a:pPr>
            <a:r>
              <a:rPr lang="fr-CH" dirty="0">
                <a:solidFill>
                  <a:schemeClr val="dk1"/>
                </a:solidFill>
              </a:rPr>
              <a:t>il alimente un fonds de soutien aux projets </a:t>
            </a:r>
            <a:endParaRPr lang="fr-CH" dirty="0"/>
          </a:p>
          <a:p>
            <a:pPr marL="285750" marR="0" lvl="0" indent="-285750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</a:pPr>
            <a:r>
              <a:rPr lang="fr-CH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Nouveau : ce fonds peut être à découvert.</a:t>
            </a:r>
            <a:endParaRPr lang="fr-CH" dirty="0"/>
          </a:p>
        </p:txBody>
      </p:sp>
      <p:sp>
        <p:nvSpPr>
          <p:cNvPr id="256" name="Google Shape;256;p19"/>
          <p:cNvSpPr txBox="1"/>
          <p:nvPr/>
        </p:nvSpPr>
        <p:spPr>
          <a:xfrm>
            <a:off x="457200" y="2741473"/>
            <a:ext cx="4028742" cy="201589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CH" sz="1500" b="1" dirty="0">
                <a:solidFill>
                  <a:schemeClr val="dk1"/>
                </a:solidFill>
                <a:sym typeface="Arial"/>
              </a:rPr>
              <a:t>… mais plus de stabilité de prix</a:t>
            </a:r>
            <a:endParaRPr lang="fr-CH" dirty="0"/>
          </a:p>
          <a:p>
            <a:pPr marR="0" lvl="0" algn="l" rtl="0"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500"/>
            </a:pPr>
            <a:r>
              <a:rPr lang="fr-CH" sz="1500" dirty="0">
                <a:solidFill>
                  <a:schemeClr val="dk1"/>
                </a:solidFill>
                <a:sym typeface="Arial"/>
              </a:rPr>
              <a:t>Grâce aux énergies renouvelables : </a:t>
            </a:r>
          </a:p>
          <a:p>
            <a:pPr marL="285750" marR="0" lvl="0" indent="-285750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 panose="020B0604020202020204" pitchFamily="34" charset="0"/>
              <a:buChar char="•"/>
            </a:pPr>
            <a:r>
              <a:rPr lang="fr-CH" dirty="0">
                <a:solidFill>
                  <a:schemeClr val="dk1"/>
                </a:solidFill>
                <a:sym typeface="Arial"/>
              </a:rPr>
              <a:t>de l‘électricité à prix bas et stable</a:t>
            </a:r>
          </a:p>
          <a:p>
            <a:pPr marL="285750" marR="0" lvl="0" indent="-285750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</a:pPr>
            <a:r>
              <a:rPr lang="fr-CH" dirty="0">
                <a:solidFill>
                  <a:schemeClr val="dk1"/>
                </a:solidFill>
              </a:rPr>
              <a:t>l‘i</a:t>
            </a:r>
            <a:r>
              <a:rPr lang="fr-CH" dirty="0">
                <a:solidFill>
                  <a:schemeClr val="dk1"/>
                </a:solidFill>
                <a:sym typeface="Arial"/>
              </a:rPr>
              <a:t>ndépendance de chocs de prix internationaux</a:t>
            </a:r>
            <a:endParaRPr lang="fr-CH" dirty="0"/>
          </a:p>
          <a:p>
            <a:pPr marL="285750" marR="0" lvl="0" indent="-285750" algn="l" rtl="0"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</a:pPr>
            <a:r>
              <a:rPr lang="fr-CH" dirty="0">
                <a:solidFill>
                  <a:schemeClr val="dk1"/>
                </a:solidFill>
                <a:sym typeface="Arial"/>
              </a:rPr>
              <a:t>la création de valeur ajoutée et d‘emplois locaux.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D9BDDD53-C0BB-3DC9-8869-E92ED5F48E6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6515" b="94697" l="9906" r="91195">
                        <a14:foregroundMark x1="46226" y1="57121" x2="46226" y2="57121"/>
                        <a14:foregroundMark x1="54560" y1="65606" x2="54560" y2="65606"/>
                        <a14:foregroundMark x1="52201" y1="57121" x2="52201" y2="57121"/>
                        <a14:foregroundMark x1="60849" y1="58636" x2="60849" y2="58636"/>
                        <a14:foregroundMark x1="80503" y1="55606" x2="80503" y2="55606"/>
                        <a14:foregroundMark x1="91195" y1="81970" x2="91195" y2="81970"/>
                        <a14:foregroundMark x1="25314" y1="91364" x2="25314" y2="91364"/>
                        <a14:foregroundMark x1="44182" y1="9394" x2="44182" y2="9394"/>
                        <a14:foregroundMark x1="39780" y1="6515" x2="50314" y2="6515"/>
                        <a14:backgroundMark x1="16667" y1="94848" x2="16667" y2="94848"/>
                        <a14:backgroundMark x1="16981" y1="95303" x2="16981" y2="95303"/>
                        <a14:backgroundMark x1="16509" y1="95909" x2="16509" y2="95909"/>
                        <a14:backgroundMark x1="16195" y1="94697" x2="16981" y2="96212"/>
                        <a14:backgroundMark x1="90566" y1="69545" x2="91509" y2="7303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849104" y="0"/>
            <a:ext cx="1297457" cy="134641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30F57ED-59C2-EBB5-5F74-085852C9426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307227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"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Google Shape;77;p2"/>
          <p:cNvSpPr txBox="1">
            <a:spLocks noGrp="1"/>
          </p:cNvSpPr>
          <p:nvPr>
            <p:ph type="title"/>
          </p:nvPr>
        </p:nvSpPr>
        <p:spPr>
          <a:xfrm>
            <a:off x="623887" y="1282304"/>
            <a:ext cx="7886700" cy="2139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ED2E38"/>
              </a:buClr>
              <a:buSzPts val="3200"/>
              <a:buFont typeface="Arial"/>
              <a:buNone/>
            </a:pPr>
            <a:r>
              <a:rPr lang="de-DE" sz="4800" dirty="0">
                <a:solidFill>
                  <a:srgbClr val="82AC54"/>
                </a:solidFill>
              </a:rPr>
              <a:t>CONTEXTE</a:t>
            </a:r>
            <a:endParaRPr sz="4800" dirty="0">
              <a:solidFill>
                <a:srgbClr val="82AC54"/>
              </a:solidFill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F411279F-9BDF-9F80-4867-7B352C7751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446951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8"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9" name="Google Shape;269;p21"/>
          <p:cNvSpPr txBox="1">
            <a:spLocks noGrp="1"/>
          </p:cNvSpPr>
          <p:nvPr>
            <p:ph type="title"/>
          </p:nvPr>
        </p:nvSpPr>
        <p:spPr>
          <a:xfrm>
            <a:off x="457200" y="205979"/>
            <a:ext cx="8229600" cy="734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ED2E38"/>
              </a:buClr>
              <a:buSzPts val="2400"/>
              <a:buFont typeface="Arial"/>
              <a:buNone/>
            </a:pPr>
            <a:r>
              <a:rPr lang="de-DE" sz="2400" dirty="0">
                <a:solidFill>
                  <a:srgbClr val="82AC54"/>
                </a:solidFill>
              </a:rPr>
              <a:t>LA LOI SUR L‘ÉLECTRICITÉ CONTRIBUE A</a:t>
            </a:r>
            <a:endParaRPr dirty="0">
              <a:solidFill>
                <a:srgbClr val="82AC54"/>
              </a:solidFill>
            </a:endParaRPr>
          </a:p>
        </p:txBody>
      </p:sp>
      <p:sp>
        <p:nvSpPr>
          <p:cNvPr id="271" name="Google Shape;271;p21"/>
          <p:cNvSpPr/>
          <p:nvPr/>
        </p:nvSpPr>
        <p:spPr>
          <a:xfrm>
            <a:off x="719605" y="1273124"/>
            <a:ext cx="5040000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6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… </a:t>
            </a:r>
            <a:r>
              <a:rPr lang="fr-FR" sz="1600" dirty="0">
                <a:latin typeface="Calibri"/>
                <a:ea typeface="Calibri"/>
                <a:cs typeface="Calibri"/>
                <a:sym typeface="Calibri"/>
              </a:rPr>
              <a:t>l‘accélération de la transition énergétique</a:t>
            </a:r>
            <a:endParaRPr lang="fr-FR" dirty="0"/>
          </a:p>
        </p:txBody>
      </p:sp>
      <p:sp>
        <p:nvSpPr>
          <p:cNvPr id="272" name="Google Shape;272;p21"/>
          <p:cNvSpPr/>
          <p:nvPr/>
        </p:nvSpPr>
        <p:spPr>
          <a:xfrm>
            <a:off x="719605" y="1952024"/>
            <a:ext cx="5040000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6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… plus de souveraineté et d‘indépendance</a:t>
            </a:r>
            <a:endParaRPr lang="fr-FR" dirty="0"/>
          </a:p>
        </p:txBody>
      </p:sp>
      <p:sp>
        <p:nvSpPr>
          <p:cNvPr id="273" name="Google Shape;273;p21"/>
          <p:cNvSpPr/>
          <p:nvPr/>
        </p:nvSpPr>
        <p:spPr>
          <a:xfrm>
            <a:off x="719605" y="2630924"/>
            <a:ext cx="5040000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6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… </a:t>
            </a:r>
            <a:r>
              <a:rPr lang="fr-FR" sz="1600" dirty="0">
                <a:latin typeface="Calibri"/>
                <a:ea typeface="Calibri"/>
                <a:cs typeface="Calibri"/>
                <a:sym typeface="Calibri"/>
              </a:rPr>
              <a:t>plus</a:t>
            </a:r>
            <a:r>
              <a:rPr lang="fr-FR" sz="16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 l‘électricité en accord avec la nature</a:t>
            </a:r>
            <a:endParaRPr lang="fr-FR" dirty="0"/>
          </a:p>
        </p:txBody>
      </p:sp>
      <p:sp>
        <p:nvSpPr>
          <p:cNvPr id="274" name="Google Shape;274;p21"/>
          <p:cNvSpPr/>
          <p:nvPr/>
        </p:nvSpPr>
        <p:spPr>
          <a:xfrm>
            <a:off x="719605" y="3988725"/>
            <a:ext cx="5040000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6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… des prix d‘énergie bas et stables</a:t>
            </a:r>
            <a:endParaRPr lang="fr-FR" dirty="0"/>
          </a:p>
        </p:txBody>
      </p:sp>
      <p:sp>
        <p:nvSpPr>
          <p:cNvPr id="275" name="Google Shape;275;p21"/>
          <p:cNvSpPr/>
          <p:nvPr/>
        </p:nvSpPr>
        <p:spPr>
          <a:xfrm>
            <a:off x="719605" y="3309824"/>
            <a:ext cx="5040000" cy="36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1600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… moins de gaspillage d‘énergie</a:t>
            </a:r>
            <a:endParaRPr lang="fr-FR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0D0B5C04-505F-DD9B-3B44-68FCF7E3694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78325" y="902970"/>
            <a:ext cx="4146698" cy="4161046"/>
          </a:xfrm>
          <a:prstGeom prst="rect">
            <a:avLst/>
          </a:prstGeom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5CC8F11B-3F9E-B278-7636-49607088C5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5621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1"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0" name="Google Shape;280;p22"/>
          <p:cNvSpPr txBox="1">
            <a:spLocks noGrp="1"/>
          </p:cNvSpPr>
          <p:nvPr>
            <p:ph type="title"/>
          </p:nvPr>
        </p:nvSpPr>
        <p:spPr>
          <a:xfrm>
            <a:off x="457200" y="205979"/>
            <a:ext cx="8229600" cy="734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ED2E38"/>
              </a:buClr>
              <a:buSzPts val="2400"/>
              <a:buFont typeface="Arial"/>
              <a:buNone/>
            </a:pPr>
            <a:r>
              <a:rPr lang="fr-FR" sz="2400" dirty="0">
                <a:solidFill>
                  <a:srgbClr val="82AC54"/>
                </a:solidFill>
              </a:rPr>
              <a:t>ELLES S‘ENGAGENT POUR LE OUI</a:t>
            </a:r>
            <a:endParaRPr lang="fr-FR" dirty="0">
              <a:solidFill>
                <a:srgbClr val="82AC54"/>
              </a:solidFill>
            </a:endParaRPr>
          </a:p>
        </p:txBody>
      </p:sp>
      <p:pic>
        <p:nvPicPr>
          <p:cNvPr id="282" name="Google Shape;282;p22" descr="WWF"/>
          <p:cNvPicPr preferRelativeResize="0"/>
          <p:nvPr/>
        </p:nvPicPr>
        <p:blipFill rotWithShape="1"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26153" y="225836"/>
            <a:ext cx="2343737" cy="2343737"/>
          </a:xfrm>
          <a:prstGeom prst="rect">
            <a:avLst/>
          </a:prstGeom>
          <a:noFill/>
          <a:ln>
            <a:noFill/>
          </a:ln>
        </p:spPr>
      </p:pic>
      <p:pic>
        <p:nvPicPr>
          <p:cNvPr id="283" name="Google Shape;283;p22" descr="Greenpeace"/>
          <p:cNvPicPr preferRelativeResize="0"/>
          <p:nvPr/>
        </p:nvPicPr>
        <p:blipFill rotWithShape="1">
          <a:blip r:embed="rId8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3969" y="3003553"/>
            <a:ext cx="2832562" cy="2832562"/>
          </a:xfrm>
          <a:prstGeom prst="rect">
            <a:avLst/>
          </a:prstGeom>
          <a:noFill/>
          <a:ln>
            <a:noFill/>
          </a:ln>
        </p:spPr>
      </p:pic>
      <p:pic>
        <p:nvPicPr>
          <p:cNvPr id="285" name="Google Shape;285;p22" descr="Aqua Viva"/>
          <p:cNvPicPr preferRelativeResize="0"/>
          <p:nvPr/>
        </p:nvPicPr>
        <p:blipFill rotWithShape="1">
          <a:blip r:embed="rId9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50750" y="2033600"/>
            <a:ext cx="2571750" cy="2571750"/>
          </a:xfrm>
          <a:prstGeom prst="rect">
            <a:avLst/>
          </a:prstGeom>
          <a:noFill/>
          <a:ln>
            <a:noFill/>
          </a:ln>
        </p:spPr>
      </p:pic>
      <p:pic>
        <p:nvPicPr>
          <p:cNvPr id="286" name="Google Shape;286;p22" descr="Protect Our Winters"/>
          <p:cNvPicPr preferRelativeResize="0"/>
          <p:nvPr/>
        </p:nvPicPr>
        <p:blipFill rotWithShape="1">
          <a:blip r:embed="rId10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75279" y="2369044"/>
            <a:ext cx="2571750" cy="2571750"/>
          </a:xfrm>
          <a:prstGeom prst="rect">
            <a:avLst/>
          </a:prstGeom>
          <a:noFill/>
          <a:ln>
            <a:noFill/>
          </a:ln>
        </p:spPr>
      </p:pic>
      <p:sp>
        <p:nvSpPr>
          <p:cNvPr id="291" name="Google Shape;291;p22"/>
          <p:cNvSpPr txBox="1"/>
          <p:nvPr/>
        </p:nvSpPr>
        <p:spPr>
          <a:xfrm>
            <a:off x="6873458" y="4386655"/>
            <a:ext cx="2270542" cy="734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92500"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rgbClr val="ED2E38"/>
              </a:buClr>
              <a:buSzPct val="100000"/>
              <a:buFont typeface="Arial"/>
              <a:buNone/>
            </a:pPr>
            <a:r>
              <a:rPr lang="de-DE" sz="2400" b="1" cap="none" dirty="0">
                <a:solidFill>
                  <a:srgbClr val="82AC54"/>
                </a:solidFill>
                <a:latin typeface="Arial"/>
                <a:ea typeface="Arial"/>
                <a:cs typeface="Arial"/>
                <a:sym typeface="Arial"/>
              </a:rPr>
              <a:t>ET D‘AUTRES.</a:t>
            </a:r>
            <a:endParaRPr dirty="0">
              <a:solidFill>
                <a:srgbClr val="82AC54"/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ED82AA17-78A8-143E-7D5D-E4992BA6F39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6515" b="94697" l="9906" r="91195">
                        <a14:foregroundMark x1="46226" y1="57121" x2="46226" y2="57121"/>
                        <a14:foregroundMark x1="54560" y1="65606" x2="54560" y2="65606"/>
                        <a14:foregroundMark x1="52201" y1="57121" x2="52201" y2="57121"/>
                        <a14:foregroundMark x1="60849" y1="58636" x2="60849" y2="58636"/>
                        <a14:foregroundMark x1="80503" y1="55606" x2="80503" y2="55606"/>
                        <a14:foregroundMark x1="91195" y1="81970" x2="91195" y2="81970"/>
                        <a14:foregroundMark x1="25314" y1="91364" x2="25314" y2="91364"/>
                        <a14:foregroundMark x1="44182" y1="9394" x2="44182" y2="9394"/>
                        <a14:foregroundMark x1="39780" y1="6515" x2="50314" y2="6515"/>
                        <a14:backgroundMark x1="16667" y1="94848" x2="16667" y2="94848"/>
                        <a14:backgroundMark x1="16981" y1="95303" x2="16981" y2="95303"/>
                        <a14:backgroundMark x1="16509" y1="95909" x2="16509" y2="95909"/>
                        <a14:backgroundMark x1="16195" y1="94697" x2="16981" y2="96212"/>
                        <a14:backgroundMark x1="90566" y1="69545" x2="91509" y2="7303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849104" y="0"/>
            <a:ext cx="1297457" cy="1346418"/>
          </a:xfrm>
          <a:prstGeom prst="rect">
            <a:avLst/>
          </a:prstGeom>
        </p:spPr>
      </p:pic>
      <p:pic>
        <p:nvPicPr>
          <p:cNvPr id="1026" name="Picture 2" descr="Verein Klilmaschutz Schweiz">
            <a:extLst>
              <a:ext uri="{FF2B5EF4-FFF2-40B4-BE49-F238E27FC236}">
                <a16:creationId xmlns:a16="http://schemas.microsoft.com/office/drawing/2014/main" id="{EE753D62-3B0D-9E95-20AF-F20B0F370E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9794" y="830545"/>
            <a:ext cx="2270542" cy="22705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VCS">
            <a:extLst>
              <a:ext uri="{FF2B5EF4-FFF2-40B4-BE49-F238E27FC236}">
                <a16:creationId xmlns:a16="http://schemas.microsoft.com/office/drawing/2014/main" id="{CC15792C-9D7E-8B37-7106-05C91AB902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78895" y="1397705"/>
            <a:ext cx="2477637" cy="24776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Stiftung Landschaftsschutz Schweiz">
            <a:extLst>
              <a:ext uri="{FF2B5EF4-FFF2-40B4-BE49-F238E27FC236}">
                <a16:creationId xmlns:a16="http://schemas.microsoft.com/office/drawing/2014/main" id="{60381CD4-7E1D-5776-326D-E7B11DA702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4490" y="695653"/>
            <a:ext cx="2371065" cy="2371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Schweizerische Energiestiftung SES">
            <a:extLst>
              <a:ext uri="{FF2B5EF4-FFF2-40B4-BE49-F238E27FC236}">
                <a16:creationId xmlns:a16="http://schemas.microsoft.com/office/drawing/2014/main" id="{8CDA2E55-5F9D-0145-BCBE-8D6C0FEC4A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8471" y="690093"/>
            <a:ext cx="2042413" cy="2042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Klima-Allianz Schweiz">
            <a:extLst>
              <a:ext uri="{FF2B5EF4-FFF2-40B4-BE49-F238E27FC236}">
                <a16:creationId xmlns:a16="http://schemas.microsoft.com/office/drawing/2014/main" id="{8A8EAE83-B64B-58B3-949E-86A0591CCD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0747" y="2963964"/>
            <a:ext cx="2685740" cy="2685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Casafair">
            <a:extLst>
              <a:ext uri="{FF2B5EF4-FFF2-40B4-BE49-F238E27FC236}">
                <a16:creationId xmlns:a16="http://schemas.microsoft.com/office/drawing/2014/main" id="{93ED2272-DCFF-4689-F5FF-1459894971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264" y="1758934"/>
            <a:ext cx="2270543" cy="2270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C0417441-0496-2A98-953E-38123EAF3D3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1030" b="24028"/>
          <a:stretch/>
        </p:blipFill>
        <p:spPr>
          <a:xfrm>
            <a:off x="-41932" y="679154"/>
            <a:ext cx="9185932" cy="3785192"/>
          </a:xfrm>
          <a:prstGeom prst="rect">
            <a:avLst/>
          </a:prstGeom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A56872E-C45F-BC07-AFA7-B4C2420A161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4"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A56872E-C45F-BC07-AFA7-B4C2420A16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0" name="Google Shape;140;p9"/>
          <p:cNvSpPr txBox="1">
            <a:spLocks noGrp="1"/>
          </p:cNvSpPr>
          <p:nvPr>
            <p:ph type="title"/>
          </p:nvPr>
        </p:nvSpPr>
        <p:spPr>
          <a:xfrm>
            <a:off x="447718" y="1190025"/>
            <a:ext cx="7886700" cy="2139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 fontScale="90000"/>
          </a:bodyPr>
          <a:lstStyle/>
          <a:p>
            <a:pPr marL="0" lvl="0" indent="0" algn="just" rtl="0">
              <a:spcBef>
                <a:spcPts val="0"/>
              </a:spcBef>
              <a:spcAft>
                <a:spcPts val="0"/>
              </a:spcAft>
              <a:buClr>
                <a:srgbClr val="ED2E38"/>
              </a:buClr>
              <a:buSzPts val="3600"/>
              <a:buFont typeface="Arial"/>
              <a:buNone/>
            </a:pPr>
            <a:br>
              <a:rPr lang="de-DE" sz="4800" dirty="0">
                <a:solidFill>
                  <a:srgbClr val="82AC54"/>
                </a:solidFill>
              </a:rPr>
            </a:br>
            <a:r>
              <a:rPr lang="de-DE" sz="4000" dirty="0">
                <a:solidFill>
                  <a:srgbClr val="82AC54"/>
                </a:solidFill>
              </a:rPr>
              <a:t>MERCI POUR VOTRE ATTENTION</a:t>
            </a:r>
            <a:br>
              <a:rPr lang="de-DE" sz="4800" dirty="0">
                <a:solidFill>
                  <a:srgbClr val="82AC54"/>
                </a:solidFill>
              </a:rPr>
            </a:br>
            <a:br>
              <a:rPr lang="de-DE" sz="1600" dirty="0">
                <a:solidFill>
                  <a:srgbClr val="82AC54"/>
                </a:solidFill>
              </a:rPr>
            </a:br>
            <a:r>
              <a:rPr lang="de-DE" sz="4800" dirty="0">
                <a:solidFill>
                  <a:srgbClr val="82AC54"/>
                </a:solidFill>
              </a:rPr>
              <a:t>https://www.loi-electricite.ch/</a:t>
            </a:r>
            <a:br>
              <a:rPr lang="de-DE" sz="4800" dirty="0">
                <a:solidFill>
                  <a:srgbClr val="82AC54"/>
                </a:solidFill>
              </a:rPr>
            </a:br>
            <a:endParaRPr sz="4800" dirty="0">
              <a:solidFill>
                <a:srgbClr val="82AC5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53795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9416295-3ED5-7CF4-29F5-E5BF351A2C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395036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4"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9416295-3ED5-7CF4-29F5-E5BF351A2C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Google Shape;84;p3"/>
          <p:cNvSpPr txBox="1">
            <a:spLocks noGrp="1"/>
          </p:cNvSpPr>
          <p:nvPr>
            <p:ph type="title"/>
          </p:nvPr>
        </p:nvSpPr>
        <p:spPr>
          <a:xfrm>
            <a:off x="457200" y="205979"/>
            <a:ext cx="8229600" cy="734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90000"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ED2E38"/>
              </a:buClr>
              <a:buSzPct val="100000"/>
              <a:buFont typeface="Arial"/>
              <a:buNone/>
            </a:pPr>
            <a:r>
              <a:rPr lang="de-DE" sz="2700" dirty="0">
                <a:solidFill>
                  <a:srgbClr val="82AC54"/>
                </a:solidFill>
              </a:rPr>
              <a:t>LA SUISSE A VOTÉ POUR LA TRANSITION ÉNERGÉTIQUE</a:t>
            </a:r>
            <a:endParaRPr sz="2700" dirty="0">
              <a:solidFill>
                <a:srgbClr val="82AC54"/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D1B5839E-960D-467C-C745-0661CCECC27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6515" b="94697" l="9906" r="91195">
                        <a14:foregroundMark x1="46226" y1="57121" x2="46226" y2="57121"/>
                        <a14:foregroundMark x1="54560" y1="65606" x2="54560" y2="65606"/>
                        <a14:foregroundMark x1="52201" y1="57121" x2="52201" y2="57121"/>
                        <a14:foregroundMark x1="60849" y1="58636" x2="60849" y2="58636"/>
                        <a14:foregroundMark x1="80503" y1="55606" x2="80503" y2="55606"/>
                        <a14:foregroundMark x1="91195" y1="81970" x2="91195" y2="81970"/>
                        <a14:foregroundMark x1="25314" y1="91364" x2="25314" y2="91364"/>
                        <a14:foregroundMark x1="44182" y1="9394" x2="44182" y2="9394"/>
                        <a14:foregroundMark x1="39780" y1="6515" x2="50314" y2="6515"/>
                        <a14:backgroundMark x1="16667" y1="94848" x2="16667" y2="94848"/>
                        <a14:backgroundMark x1="16981" y1="95303" x2="16981" y2="95303"/>
                        <a14:backgroundMark x1="16509" y1="95909" x2="16509" y2="95909"/>
                        <a14:backgroundMark x1="16195" y1="94697" x2="16981" y2="96212"/>
                        <a14:backgroundMark x1="90566" y1="69545" x2="91509" y2="7303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849104" y="0"/>
            <a:ext cx="1297457" cy="1346418"/>
          </a:xfrm>
          <a:prstGeom prst="rect">
            <a:avLst/>
          </a:prstGeom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55BFE147-FD1E-9F77-188E-23B63D7B7B1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15769" t="10847" r="-15769" b="11058"/>
          <a:stretch/>
        </p:blipFill>
        <p:spPr bwMode="auto">
          <a:xfrm>
            <a:off x="872899" y="1346418"/>
            <a:ext cx="3173632" cy="1884220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2052" name="Picture 4" descr="Communiqués des organisations - agirinfo.com">
            <a:extLst>
              <a:ext uri="{FF2B5EF4-FFF2-40B4-BE49-F238E27FC236}">
                <a16:creationId xmlns:a16="http://schemas.microsoft.com/office/drawing/2014/main" id="{FFB0284B-E0DF-749A-8A61-05ED6A03267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850"/>
          <a:stretch/>
        </p:blipFill>
        <p:spPr bwMode="auto">
          <a:xfrm>
            <a:off x="4200073" y="1346418"/>
            <a:ext cx="3947618" cy="3183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" name="Google Shape;82;p3" descr="CNG-Mobilität bietet grosse Chancen | CNG-Mobility"/>
          <p:cNvPicPr preferRelativeResize="0"/>
          <p:nvPr/>
        </p:nvPicPr>
        <p:blipFill rotWithShape="1">
          <a:blip r:embed="rId1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972" b="4544"/>
          <a:stretch/>
        </p:blipFill>
        <p:spPr>
          <a:xfrm>
            <a:off x="872898" y="3213704"/>
            <a:ext cx="3173633" cy="131572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5">
            <a:extLst>
              <a:ext uri="{FF2B5EF4-FFF2-40B4-BE49-F238E27FC236}">
                <a16:creationId xmlns:a16="http://schemas.microsoft.com/office/drawing/2014/main" id="{1F94C4B2-E7EB-422E-BDF3-FC159829BCD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45638" y="847763"/>
            <a:ext cx="2368672" cy="3683189"/>
          </a:xfrm>
          <a:prstGeom prst="rect">
            <a:avLst/>
          </a:prstGeom>
        </p:spPr>
      </p:pic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19416295-3ED5-7CF4-29F5-E5BF351A2C2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9" name="think-cell Folie" r:id="rId6" imgW="7772400" imgH="10058400" progId="TCLayout.ActiveDocument.1">
                  <p:embed/>
                </p:oleObj>
              </mc:Choice>
              <mc:Fallback>
                <p:oleObj name="think-cell Folie" r:id="rId6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9416295-3ED5-7CF4-29F5-E5BF351A2C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Google Shape;84;p3"/>
          <p:cNvSpPr txBox="1">
            <a:spLocks noGrp="1"/>
          </p:cNvSpPr>
          <p:nvPr>
            <p:ph type="title"/>
          </p:nvPr>
        </p:nvSpPr>
        <p:spPr>
          <a:xfrm>
            <a:off x="331365" y="368153"/>
            <a:ext cx="8229600" cy="734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90000"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ED2E38"/>
              </a:buClr>
              <a:buSzPct val="100000"/>
              <a:buFont typeface="Arial"/>
              <a:buNone/>
            </a:pPr>
            <a:r>
              <a:rPr lang="de-DE" sz="2700" dirty="0">
                <a:solidFill>
                  <a:srgbClr val="82AC54"/>
                </a:solidFill>
              </a:rPr>
              <a:t>LA SUISSE DOIT RÉUSSI LA TRANSITION ÉNERGÉTIQUE</a:t>
            </a:r>
            <a:endParaRPr sz="2700" dirty="0">
              <a:solidFill>
                <a:srgbClr val="82AC54"/>
              </a:solidFill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D1B5839E-960D-467C-C745-0661CCECC27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6515" b="94697" l="9906" r="91195">
                        <a14:foregroundMark x1="46226" y1="57121" x2="46226" y2="57121"/>
                        <a14:foregroundMark x1="54560" y1="65606" x2="54560" y2="65606"/>
                        <a14:foregroundMark x1="52201" y1="57121" x2="52201" y2="57121"/>
                        <a14:foregroundMark x1="60849" y1="58636" x2="60849" y2="58636"/>
                        <a14:foregroundMark x1="80503" y1="55606" x2="80503" y2="55606"/>
                        <a14:foregroundMark x1="91195" y1="81970" x2="91195" y2="81970"/>
                        <a14:foregroundMark x1="25314" y1="91364" x2="25314" y2="91364"/>
                        <a14:foregroundMark x1="44182" y1="9394" x2="44182" y2="9394"/>
                        <a14:foregroundMark x1="39780" y1="6515" x2="50314" y2="6515"/>
                        <a14:backgroundMark x1="16667" y1="94848" x2="16667" y2="94848"/>
                        <a14:backgroundMark x1="16981" y1="95303" x2="16981" y2="95303"/>
                        <a14:backgroundMark x1="16509" y1="95909" x2="16509" y2="95909"/>
                        <a14:backgroundMark x1="16195" y1="94697" x2="16981" y2="96212"/>
                        <a14:backgroundMark x1="90566" y1="69545" x2="91509" y2="7303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849104" y="0"/>
            <a:ext cx="1297457" cy="1346418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8D1A4126-7A3A-431A-94EB-EE35903F9EDD}"/>
              </a:ext>
            </a:extLst>
          </p:cNvPr>
          <p:cNvSpPr txBox="1"/>
          <p:nvPr/>
        </p:nvSpPr>
        <p:spPr>
          <a:xfrm>
            <a:off x="570450" y="1526796"/>
            <a:ext cx="5066951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82AC54"/>
              </a:buClr>
            </a:pPr>
            <a:r>
              <a:rPr lang="fr-CH" sz="2000" dirty="0"/>
              <a:t>Pour réussir la transition énergétique :</a:t>
            </a:r>
          </a:p>
          <a:p>
            <a:pPr marL="342900" indent="-342900">
              <a:buClr>
                <a:srgbClr val="82AC54"/>
              </a:buClr>
              <a:buFont typeface="Wingdings" panose="05000000000000000000" pitchFamily="2" charset="2"/>
              <a:buChar char="ü"/>
            </a:pPr>
            <a:r>
              <a:rPr lang="fr-CH" sz="2000" dirty="0"/>
              <a:t>électrifier selon les objectifs de la loi pour le climat</a:t>
            </a:r>
          </a:p>
          <a:p>
            <a:pPr marL="342900" indent="-342900">
              <a:buClr>
                <a:srgbClr val="82AC54"/>
              </a:buClr>
              <a:buFont typeface="Wingdings" panose="05000000000000000000" pitchFamily="2" charset="2"/>
              <a:buChar char="ü"/>
            </a:pPr>
            <a:r>
              <a:rPr lang="fr-CH" sz="2000" dirty="0"/>
              <a:t>renforcer la souveraineté énergétique avec des énergies propres et locales</a:t>
            </a:r>
          </a:p>
          <a:p>
            <a:pPr marL="342900" indent="-342900">
              <a:buClr>
                <a:srgbClr val="82AC54"/>
              </a:buClr>
              <a:buFont typeface="Wingdings" panose="05000000000000000000" pitchFamily="2" charset="2"/>
              <a:buChar char="ü"/>
            </a:pPr>
            <a:r>
              <a:rPr lang="fr-CH" sz="2000" dirty="0"/>
              <a:t>sortir des énergies fossiles et nucléaires</a:t>
            </a:r>
          </a:p>
          <a:p>
            <a:pPr marL="342900" indent="-342900">
              <a:buClr>
                <a:srgbClr val="82AC54"/>
              </a:buClr>
              <a:buFont typeface="Wingdings" panose="05000000000000000000" pitchFamily="2" charset="2"/>
              <a:buChar char="ü"/>
            </a:pPr>
            <a:r>
              <a:rPr lang="fr-CH" sz="2000" dirty="0"/>
              <a:t>améliorer l’efficience et lutter contre le gaspillage.</a:t>
            </a:r>
          </a:p>
        </p:txBody>
      </p:sp>
    </p:spTree>
    <p:extLst>
      <p:ext uri="{BB962C8B-B14F-4D97-AF65-F5344CB8AC3E}">
        <p14:creationId xmlns:p14="http://schemas.microsoft.com/office/powerpoint/2010/main" val="40737170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480C8713-6900-02EF-7302-5223CA0E81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817784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3"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" name="Google Shape;102;p5"/>
          <p:cNvSpPr txBox="1">
            <a:spLocks noGrp="1"/>
          </p:cNvSpPr>
          <p:nvPr>
            <p:ph type="title"/>
          </p:nvPr>
        </p:nvSpPr>
        <p:spPr>
          <a:xfrm>
            <a:off x="457200" y="205979"/>
            <a:ext cx="8229600" cy="734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ED2E38"/>
              </a:buClr>
              <a:buSzPts val="2700"/>
              <a:buFont typeface="Arial"/>
              <a:buNone/>
            </a:pPr>
            <a:r>
              <a:rPr lang="de-DE" sz="2700" dirty="0">
                <a:solidFill>
                  <a:srgbClr val="82AC54"/>
                </a:solidFill>
              </a:rPr>
              <a:t>LE RYTHME ACTUEL NE SUFFIT PAS</a:t>
            </a:r>
            <a:endParaRPr dirty="0">
              <a:solidFill>
                <a:srgbClr val="82AC54"/>
              </a:solidFill>
            </a:endParaRPr>
          </a:p>
        </p:txBody>
      </p:sp>
      <p:pic>
        <p:nvPicPr>
          <p:cNvPr id="103" name="Google Shape;103;p5"/>
          <p:cNvPicPr preferRelativeResize="0"/>
          <p:nvPr/>
        </p:nvPicPr>
        <p:blipFill rotWithShape="1"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2567" y="940741"/>
            <a:ext cx="7736297" cy="3996780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89275462-90BF-B6A2-57DB-C6F6E589D3A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6515" b="94697" l="9906" r="91195">
                        <a14:foregroundMark x1="46226" y1="57121" x2="46226" y2="57121"/>
                        <a14:foregroundMark x1="54560" y1="65606" x2="54560" y2="65606"/>
                        <a14:foregroundMark x1="52201" y1="57121" x2="52201" y2="57121"/>
                        <a14:foregroundMark x1="60849" y1="58636" x2="60849" y2="58636"/>
                        <a14:foregroundMark x1="80503" y1="55606" x2="80503" y2="55606"/>
                        <a14:foregroundMark x1="91195" y1="81970" x2="91195" y2="81970"/>
                        <a14:foregroundMark x1="25314" y1="91364" x2="25314" y2="91364"/>
                        <a14:foregroundMark x1="44182" y1="9394" x2="44182" y2="9394"/>
                        <a14:foregroundMark x1="39780" y1="6515" x2="50314" y2="6515"/>
                        <a14:backgroundMark x1="16667" y1="94848" x2="16667" y2="94848"/>
                        <a14:backgroundMark x1="16981" y1="95303" x2="16981" y2="95303"/>
                        <a14:backgroundMark x1="16509" y1="95909" x2="16509" y2="95909"/>
                        <a14:backgroundMark x1="16195" y1="94697" x2="16981" y2="96212"/>
                        <a14:backgroundMark x1="90566" y1="69545" x2="91509" y2="7303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849104" y="0"/>
            <a:ext cx="1297457" cy="1346418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F612669C-860F-41C7-AFEB-0ACB0661D648}"/>
              </a:ext>
            </a:extLst>
          </p:cNvPr>
          <p:cNvSpPr txBox="1"/>
          <p:nvPr/>
        </p:nvSpPr>
        <p:spPr>
          <a:xfrm>
            <a:off x="835136" y="1284285"/>
            <a:ext cx="5662768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CH" b="1" dirty="0"/>
              <a:t>PRODUCTION EOLIENNE ET SOLAIRE : COMPARAISON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C88B3187-B450-4A10-8C06-48E4928ADFA1}"/>
              </a:ext>
            </a:extLst>
          </p:cNvPr>
          <p:cNvSpPr txBox="1"/>
          <p:nvPr/>
        </p:nvSpPr>
        <p:spPr>
          <a:xfrm>
            <a:off x="835136" y="1675503"/>
            <a:ext cx="1432291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CH" sz="800" dirty="0"/>
              <a:t>Production électrique / hab.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9035E65-8ED0-1ECF-0F64-F5C9C0286E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323384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3"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1" name="Google Shape;91;p4"/>
          <p:cNvSpPr txBox="1">
            <a:spLocks noGrp="1"/>
          </p:cNvSpPr>
          <p:nvPr>
            <p:ph type="title"/>
          </p:nvPr>
        </p:nvSpPr>
        <p:spPr>
          <a:xfrm>
            <a:off x="457200" y="205979"/>
            <a:ext cx="8229600" cy="734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ED2E38"/>
              </a:buClr>
              <a:buSzPts val="2400"/>
              <a:buFont typeface="Arial"/>
              <a:buNone/>
            </a:pPr>
            <a:r>
              <a:rPr lang="de-DE" sz="2400" dirty="0">
                <a:solidFill>
                  <a:srgbClr val="82AC54"/>
                </a:solidFill>
              </a:rPr>
              <a:t>NOUS AVONS BESOIN D‘OBJECTIFS AMBITIEUX</a:t>
            </a:r>
            <a:endParaRPr sz="2400" dirty="0">
              <a:solidFill>
                <a:srgbClr val="82AC54"/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ABF29626-FF8F-1492-286F-70D27B010DE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6515" b="94697" l="9906" r="91195">
                        <a14:foregroundMark x1="46226" y1="57121" x2="46226" y2="57121"/>
                        <a14:foregroundMark x1="54560" y1="65606" x2="54560" y2="65606"/>
                        <a14:foregroundMark x1="52201" y1="57121" x2="52201" y2="57121"/>
                        <a14:foregroundMark x1="60849" y1="58636" x2="60849" y2="58636"/>
                        <a14:foregroundMark x1="80503" y1="55606" x2="80503" y2="55606"/>
                        <a14:foregroundMark x1="91195" y1="81970" x2="91195" y2="81970"/>
                        <a14:foregroundMark x1="25314" y1="91364" x2="25314" y2="91364"/>
                        <a14:foregroundMark x1="44182" y1="9394" x2="44182" y2="9394"/>
                        <a14:foregroundMark x1="39780" y1="6515" x2="50314" y2="6515"/>
                        <a14:backgroundMark x1="16667" y1="94848" x2="16667" y2="94848"/>
                        <a14:backgroundMark x1="16981" y1="95303" x2="16981" y2="95303"/>
                        <a14:backgroundMark x1="16509" y1="95909" x2="16509" y2="95909"/>
                        <a14:backgroundMark x1="16195" y1="94697" x2="16981" y2="96212"/>
                        <a14:backgroundMark x1="90566" y1="69545" x2="91509" y2="7303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849104" y="0"/>
            <a:ext cx="1297457" cy="1346418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86FB4AC9-418F-F343-B564-6278B9C0B920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r="35813"/>
          <a:stretch/>
        </p:blipFill>
        <p:spPr>
          <a:xfrm>
            <a:off x="619228" y="982518"/>
            <a:ext cx="5110453" cy="3718744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9035E65-8ED0-1ECF-0F64-F5C9C0286E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4"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035E65-8ED0-1ECF-0F64-F5C9C0286E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1" name="Google Shape;91;p4"/>
          <p:cNvSpPr txBox="1">
            <a:spLocks noGrp="1"/>
          </p:cNvSpPr>
          <p:nvPr>
            <p:ph type="title"/>
          </p:nvPr>
        </p:nvSpPr>
        <p:spPr>
          <a:xfrm>
            <a:off x="457200" y="205979"/>
            <a:ext cx="8229600" cy="734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ED2E38"/>
              </a:buClr>
              <a:buSzPts val="2400"/>
              <a:buFont typeface="Arial"/>
              <a:buNone/>
            </a:pPr>
            <a:r>
              <a:rPr lang="de-DE" sz="2400" dirty="0">
                <a:solidFill>
                  <a:srgbClr val="82AC54"/>
                </a:solidFill>
              </a:rPr>
              <a:t>NOUS AVONS BESOIN D‘OBJECTIFS AMBITIEUX</a:t>
            </a:r>
            <a:endParaRPr sz="2400" dirty="0">
              <a:solidFill>
                <a:srgbClr val="82AC54"/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ABF29626-FF8F-1492-286F-70D27B010DE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6515" b="94697" l="9906" r="91195">
                        <a14:foregroundMark x1="46226" y1="57121" x2="46226" y2="57121"/>
                        <a14:foregroundMark x1="54560" y1="65606" x2="54560" y2="65606"/>
                        <a14:foregroundMark x1="52201" y1="57121" x2="52201" y2="57121"/>
                        <a14:foregroundMark x1="60849" y1="58636" x2="60849" y2="58636"/>
                        <a14:foregroundMark x1="80503" y1="55606" x2="80503" y2="55606"/>
                        <a14:foregroundMark x1="91195" y1="81970" x2="91195" y2="81970"/>
                        <a14:foregroundMark x1="25314" y1="91364" x2="25314" y2="91364"/>
                        <a14:foregroundMark x1="44182" y1="9394" x2="44182" y2="9394"/>
                        <a14:foregroundMark x1="39780" y1="6515" x2="50314" y2="6515"/>
                        <a14:backgroundMark x1="16667" y1="94848" x2="16667" y2="94848"/>
                        <a14:backgroundMark x1="16981" y1="95303" x2="16981" y2="95303"/>
                        <a14:backgroundMark x1="16509" y1="95909" x2="16509" y2="95909"/>
                        <a14:backgroundMark x1="16195" y1="94697" x2="16981" y2="96212"/>
                        <a14:backgroundMark x1="90566" y1="69545" x2="91509" y2="7303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849104" y="0"/>
            <a:ext cx="1297457" cy="1346418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86FB4AC9-418F-F343-B564-6278B9C0B92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19228" y="982518"/>
            <a:ext cx="7229876" cy="3376894"/>
          </a:xfrm>
          <a:prstGeom prst="rect">
            <a:avLst/>
          </a:prstGeom>
        </p:spPr>
      </p:pic>
      <p:sp>
        <p:nvSpPr>
          <p:cNvPr id="9" name="ZoneTexte 8">
            <a:extLst>
              <a:ext uri="{FF2B5EF4-FFF2-40B4-BE49-F238E27FC236}">
                <a16:creationId xmlns:a16="http://schemas.microsoft.com/office/drawing/2014/main" id="{DDEBA95F-86F4-40EA-B8EE-9B9CA7C1AF9A}"/>
              </a:ext>
            </a:extLst>
          </p:cNvPr>
          <p:cNvSpPr txBox="1"/>
          <p:nvPr/>
        </p:nvSpPr>
        <p:spPr>
          <a:xfrm>
            <a:off x="2364224" y="2670965"/>
            <a:ext cx="1699328" cy="261610"/>
          </a:xfrm>
          <a:prstGeom prst="rect">
            <a:avLst/>
          </a:prstGeom>
          <a:noFill/>
          <a:ln w="9525" cap="flat" cmpd="sng" algn="ctr">
            <a:solidFill>
              <a:srgbClr val="82AC5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wrap="square" rtlCol="0">
            <a:spAutoFit/>
          </a:bodyPr>
          <a:lstStyle/>
          <a:p>
            <a:r>
              <a:rPr lang="fr-CH" sz="1100" b="1" dirty="0">
                <a:solidFill>
                  <a:schemeClr val="accent3">
                    <a:lumMod val="75000"/>
                  </a:schemeClr>
                </a:solidFill>
              </a:rPr>
              <a:t>Sortie gaz et pétrole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1755CA82-4697-4C1F-AF89-1D251F03EBEB}"/>
              </a:ext>
            </a:extLst>
          </p:cNvPr>
          <p:cNvSpPr txBox="1"/>
          <p:nvPr/>
        </p:nvSpPr>
        <p:spPr>
          <a:xfrm>
            <a:off x="5153278" y="1563451"/>
            <a:ext cx="1498375" cy="261610"/>
          </a:xfrm>
          <a:prstGeom prst="rect">
            <a:avLst/>
          </a:prstGeom>
          <a:noFill/>
          <a:ln w="9525" cap="flat" cmpd="sng" algn="ctr">
            <a:solidFill>
              <a:schemeClr val="accent3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3"/>
          </a:fontRef>
        </p:style>
        <p:txBody>
          <a:bodyPr wrap="square" rtlCol="0">
            <a:spAutoFit/>
          </a:bodyPr>
          <a:lstStyle/>
          <a:p>
            <a:r>
              <a:rPr lang="fr-CH" sz="1100" b="1" dirty="0">
                <a:solidFill>
                  <a:schemeClr val="accent3">
                    <a:lumMod val="75000"/>
                  </a:schemeClr>
                </a:solidFill>
              </a:rPr>
              <a:t>Sortie du nucléaire </a:t>
            </a:r>
          </a:p>
        </p:txBody>
      </p:sp>
      <p:cxnSp>
        <p:nvCxnSpPr>
          <p:cNvPr id="12" name="Connecteur droit avec flèche 11">
            <a:extLst>
              <a:ext uri="{FF2B5EF4-FFF2-40B4-BE49-F238E27FC236}">
                <a16:creationId xmlns:a16="http://schemas.microsoft.com/office/drawing/2014/main" id="{EA1E730A-5DA9-4837-A1A4-309BBCD2B025}"/>
              </a:ext>
            </a:extLst>
          </p:cNvPr>
          <p:cNvCxnSpPr>
            <a:cxnSpLocks/>
          </p:cNvCxnSpPr>
          <p:nvPr/>
        </p:nvCxnSpPr>
        <p:spPr>
          <a:xfrm flipV="1">
            <a:off x="3286716" y="1980849"/>
            <a:ext cx="161841" cy="622493"/>
          </a:xfrm>
          <a:prstGeom prst="straightConnector1">
            <a:avLst/>
          </a:prstGeom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9" name="Connecteur droit avec flèche 18">
            <a:extLst>
              <a:ext uri="{FF2B5EF4-FFF2-40B4-BE49-F238E27FC236}">
                <a16:creationId xmlns:a16="http://schemas.microsoft.com/office/drawing/2014/main" id="{9BB48A12-C583-419B-B295-55A9B7F44140}"/>
              </a:ext>
            </a:extLst>
          </p:cNvPr>
          <p:cNvCxnSpPr>
            <a:cxnSpLocks/>
          </p:cNvCxnSpPr>
          <p:nvPr/>
        </p:nvCxnSpPr>
        <p:spPr>
          <a:xfrm flipH="1" flipV="1">
            <a:off x="2979219" y="2017550"/>
            <a:ext cx="121285" cy="585792"/>
          </a:xfrm>
          <a:prstGeom prst="straightConnector1">
            <a:avLst/>
          </a:prstGeom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1" name="Connecteur droit avec flèche 20">
            <a:extLst>
              <a:ext uri="{FF2B5EF4-FFF2-40B4-BE49-F238E27FC236}">
                <a16:creationId xmlns:a16="http://schemas.microsoft.com/office/drawing/2014/main" id="{68C1CB39-F916-4AF2-AC82-F65894953E1D}"/>
              </a:ext>
            </a:extLst>
          </p:cNvPr>
          <p:cNvCxnSpPr>
            <a:cxnSpLocks/>
          </p:cNvCxnSpPr>
          <p:nvPr/>
        </p:nvCxnSpPr>
        <p:spPr>
          <a:xfrm flipH="1">
            <a:off x="6192531" y="1898464"/>
            <a:ext cx="151820" cy="579308"/>
          </a:xfrm>
          <a:prstGeom prst="straightConnector1">
            <a:avLst/>
          </a:prstGeom>
          <a:ln w="9525" cap="flat" cmpd="sng" algn="ctr">
            <a:solidFill>
              <a:schemeClr val="accent3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3" name="ZoneTexte 22">
            <a:extLst>
              <a:ext uri="{FF2B5EF4-FFF2-40B4-BE49-F238E27FC236}">
                <a16:creationId xmlns:a16="http://schemas.microsoft.com/office/drawing/2014/main" id="{506F2E88-3B46-4AFF-93E1-AEB9961DF20D}"/>
              </a:ext>
            </a:extLst>
          </p:cNvPr>
          <p:cNvSpPr txBox="1"/>
          <p:nvPr/>
        </p:nvSpPr>
        <p:spPr>
          <a:xfrm>
            <a:off x="351063" y="4490357"/>
            <a:ext cx="7756073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>
              <a:spcBef>
                <a:spcPts val="0"/>
              </a:spcBef>
              <a:spcAft>
                <a:spcPts val="0"/>
              </a:spcAft>
            </a:pPr>
            <a:r>
              <a:rPr lang="fr-CH" dirty="0">
                <a:sym typeface="Wingdings" panose="05000000000000000000" pitchFamily="2" charset="2"/>
              </a:rPr>
              <a:t> </a:t>
            </a:r>
            <a:r>
              <a:rPr lang="fr-CH" sz="1600" dirty="0"/>
              <a:t>Doubler la production d’électricité renouvelables en Suisse     </a:t>
            </a:r>
            <a:r>
              <a:rPr lang="fr-CH" sz="1800" b="1" i="0" u="none" strike="noStrike" dirty="0">
                <a:solidFill>
                  <a:srgbClr val="4E9F27"/>
                </a:solidFill>
                <a:effectLst/>
                <a:latin typeface="Arial" panose="020B0604020202020204" pitchFamily="34" charset="0"/>
              </a:rPr>
              <a:t>+ 35-45 TWh/a</a:t>
            </a:r>
            <a:endParaRPr lang="fr-CH" b="0" dirty="0">
              <a:effectLst/>
            </a:endParaRPr>
          </a:p>
          <a:p>
            <a:br>
              <a:rPr lang="fr-CH" dirty="0"/>
            </a:br>
            <a:endParaRPr lang="fr-CH" dirty="0"/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66104F02-0CBD-457C-B0D9-E510BA89B5C4}"/>
              </a:ext>
            </a:extLst>
          </p:cNvPr>
          <p:cNvSpPr/>
          <p:nvPr/>
        </p:nvSpPr>
        <p:spPr>
          <a:xfrm>
            <a:off x="6344351" y="4432815"/>
            <a:ext cx="1722665" cy="510486"/>
          </a:xfrm>
          <a:prstGeom prst="ellipse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>
              <a:solidFill>
                <a:schemeClr val="accent3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66852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1363063-EA3F-22C9-0266-3A8DDE38B59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313951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0"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8" name="Google Shape;108;p6"/>
          <p:cNvSpPr txBox="1">
            <a:spLocks noGrp="1"/>
          </p:cNvSpPr>
          <p:nvPr>
            <p:ph type="title"/>
          </p:nvPr>
        </p:nvSpPr>
        <p:spPr>
          <a:xfrm>
            <a:off x="457200" y="331299"/>
            <a:ext cx="8229600" cy="734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90000"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ED2E38"/>
              </a:buClr>
              <a:buSzPts val="2700"/>
              <a:buFont typeface="Arial"/>
              <a:buNone/>
            </a:pPr>
            <a:r>
              <a:rPr lang="de-DE" sz="2700" dirty="0">
                <a:solidFill>
                  <a:srgbClr val="82AC54"/>
                </a:solidFill>
              </a:rPr>
              <a:t>LES ALTERNATIVES DANS L‘URGENCE NE CONVAINQUENT PAS </a:t>
            </a:r>
            <a:endParaRPr dirty="0">
              <a:solidFill>
                <a:srgbClr val="82AC54"/>
              </a:solidFill>
            </a:endParaRPr>
          </a:p>
        </p:txBody>
      </p:sp>
      <p:sp>
        <p:nvSpPr>
          <p:cNvPr id="116" name="Google Shape;116;p6"/>
          <p:cNvSpPr txBox="1"/>
          <p:nvPr/>
        </p:nvSpPr>
        <p:spPr>
          <a:xfrm>
            <a:off x="-28161" y="4917506"/>
            <a:ext cx="1423824" cy="1961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675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urce </a:t>
            </a:r>
            <a:r>
              <a:rPr lang="de-DE" sz="675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‘image</a:t>
            </a:r>
            <a:r>
              <a:rPr lang="de-DE" sz="675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: DETEC, </a:t>
            </a:r>
            <a:r>
              <a:rPr lang="de-DE" sz="675" b="0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au.ch</a:t>
            </a:r>
            <a:endParaRPr sz="675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17" name="Google Shape;117;p6" descr="Notstrom aus dem Aargau: Reservekraftwerk steht im Februar bereit"/>
          <p:cNvPicPr preferRelativeResize="0"/>
          <p:nvPr/>
        </p:nvPicPr>
        <p:blipFill rotWithShape="1"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6409" y="1988711"/>
            <a:ext cx="2903450" cy="2376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0ED4CCEB-8D74-08D5-36A1-46044778C37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6515" b="94697" l="9906" r="91195">
                        <a14:foregroundMark x1="46226" y1="57121" x2="46226" y2="57121"/>
                        <a14:foregroundMark x1="54560" y1="65606" x2="54560" y2="65606"/>
                        <a14:foregroundMark x1="52201" y1="57121" x2="52201" y2="57121"/>
                        <a14:foregroundMark x1="60849" y1="58636" x2="60849" y2="58636"/>
                        <a14:foregroundMark x1="80503" y1="55606" x2="80503" y2="55606"/>
                        <a14:foregroundMark x1="91195" y1="81970" x2="91195" y2="81970"/>
                        <a14:foregroundMark x1="25314" y1="91364" x2="25314" y2="91364"/>
                        <a14:foregroundMark x1="44182" y1="9394" x2="44182" y2="9394"/>
                        <a14:foregroundMark x1="39780" y1="6515" x2="50314" y2="6515"/>
                        <a14:backgroundMark x1="16667" y1="94848" x2="16667" y2="94848"/>
                        <a14:backgroundMark x1="16981" y1="95303" x2="16981" y2="95303"/>
                        <a14:backgroundMark x1="16509" y1="95909" x2="16509" y2="95909"/>
                        <a14:backgroundMark x1="16195" y1="94697" x2="16981" y2="96212"/>
                        <a14:backgroundMark x1="90566" y1="69545" x2="91509" y2="7303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849104" y="0"/>
            <a:ext cx="1297457" cy="1346418"/>
          </a:xfrm>
          <a:prstGeom prst="rect">
            <a:avLst/>
          </a:prstGeom>
        </p:spPr>
      </p:pic>
      <p:pic>
        <p:nvPicPr>
          <p:cNvPr id="3074" name="Picture 2" descr="Economies d'énergie">
            <a:extLst>
              <a:ext uri="{FF2B5EF4-FFF2-40B4-BE49-F238E27FC236}">
                <a16:creationId xmlns:a16="http://schemas.microsoft.com/office/drawing/2014/main" id="{F6BD688D-C537-9226-E27E-39B5FD7FEE4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851"/>
          <a:stretch/>
        </p:blipFill>
        <p:spPr bwMode="auto">
          <a:xfrm>
            <a:off x="6286500" y="1988711"/>
            <a:ext cx="2857500" cy="23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07418EEB-D946-47C1-86B0-FE84BD0F6A27}"/>
              </a:ext>
            </a:extLst>
          </p:cNvPr>
          <p:cNvSpPr txBox="1"/>
          <p:nvPr/>
        </p:nvSpPr>
        <p:spPr>
          <a:xfrm>
            <a:off x="357472" y="1618856"/>
            <a:ext cx="2838354" cy="1524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fr-CH" sz="1600" dirty="0"/>
              <a:t>Le Parlement adopte 2 </a:t>
            </a:r>
            <a:br>
              <a:rPr lang="fr-CH" sz="1600" dirty="0"/>
            </a:br>
            <a:r>
              <a:rPr lang="fr-CH" sz="1600" dirty="0"/>
              <a:t>lois urgentes :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CH" sz="1600" dirty="0"/>
              <a:t>Offensive solair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r-CH" sz="1600" dirty="0"/>
              <a:t>Offensive éolienne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D94E649A-2118-43BE-927D-FB28E06DABB0}"/>
              </a:ext>
            </a:extLst>
          </p:cNvPr>
          <p:cNvSpPr txBox="1"/>
          <p:nvPr/>
        </p:nvSpPr>
        <p:spPr>
          <a:xfrm>
            <a:off x="3793127" y="4428923"/>
            <a:ext cx="201529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H" dirty="0"/>
              <a:t>Centrales à gaz de Birr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918E6236-B505-4268-9781-CE5811D0458E}"/>
              </a:ext>
            </a:extLst>
          </p:cNvPr>
          <p:cNvSpPr txBox="1"/>
          <p:nvPr/>
        </p:nvSpPr>
        <p:spPr>
          <a:xfrm>
            <a:off x="6700035" y="4428922"/>
            <a:ext cx="22981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H" dirty="0"/>
              <a:t>Campagne d’économie</a:t>
            </a:r>
          </a:p>
        </p:txBody>
      </p:sp>
      <p:pic>
        <p:nvPicPr>
          <p:cNvPr id="11" name="Image 10">
            <a:extLst>
              <a:ext uri="{FF2B5EF4-FFF2-40B4-BE49-F238E27FC236}">
                <a16:creationId xmlns:a16="http://schemas.microsoft.com/office/drawing/2014/main" id="{98979F1E-FC97-462F-BADA-7DAEF5D708E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59735" y="3232852"/>
            <a:ext cx="2936091" cy="1131859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7CB2342-4733-677B-B0E8-5D66AE57C3E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466054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3" name="think-cell Folie" r:id="rId5" imgW="7772400" imgH="10058400" progId="TCLayout.ActiveDocument.1">
                  <p:embed/>
                </p:oleObj>
              </mc:Choice>
              <mc:Fallback>
                <p:oleObj name="think-cell Foli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" name="Google Shape;122;p7"/>
          <p:cNvSpPr txBox="1">
            <a:spLocks noGrp="1"/>
          </p:cNvSpPr>
          <p:nvPr>
            <p:ph type="title"/>
          </p:nvPr>
        </p:nvSpPr>
        <p:spPr>
          <a:xfrm>
            <a:off x="376280" y="305828"/>
            <a:ext cx="8229600" cy="734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rgbClr val="ED2E38"/>
              </a:buClr>
              <a:buSzPts val="2700"/>
              <a:buFont typeface="Arial"/>
              <a:buNone/>
            </a:pPr>
            <a:r>
              <a:rPr lang="de-DE" sz="2700" dirty="0">
                <a:solidFill>
                  <a:srgbClr val="82AC54"/>
                </a:solidFill>
              </a:rPr>
              <a:t>LA SOLUTION : LA LOI SUR L‘ÉLECTRICITÉ</a:t>
            </a:r>
            <a:endParaRPr dirty="0">
              <a:solidFill>
                <a:srgbClr val="82AC54"/>
              </a:solidFill>
            </a:endParaRPr>
          </a:p>
        </p:txBody>
      </p:sp>
      <p:sp>
        <p:nvSpPr>
          <p:cNvPr id="123" name="Google Shape;123;p7"/>
          <p:cNvSpPr txBox="1"/>
          <p:nvPr/>
        </p:nvSpPr>
        <p:spPr>
          <a:xfrm>
            <a:off x="4235611" y="1633986"/>
            <a:ext cx="4795101" cy="15696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R="0" lvl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r>
              <a:rPr lang="fr-CH" sz="16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Le </a:t>
            </a:r>
            <a:r>
              <a:rPr lang="fr-CH" sz="1600" dirty="0">
                <a:solidFill>
                  <a:schemeClr val="dk1"/>
                </a:solidFill>
              </a:rPr>
              <a:t>P</a:t>
            </a:r>
            <a:r>
              <a:rPr lang="fr-CH" sz="16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arlement a adopte la loi sur l‘électricité</a:t>
            </a:r>
            <a:br>
              <a:rPr lang="fr-CH" sz="16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</a:br>
            <a:r>
              <a:rPr lang="fr-CH" sz="16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en </a:t>
            </a:r>
            <a:r>
              <a:rPr lang="fr-CH" sz="1600" dirty="0">
                <a:solidFill>
                  <a:schemeClr val="dk1"/>
                </a:solidFill>
              </a:rPr>
              <a:t>s</a:t>
            </a:r>
            <a:r>
              <a:rPr lang="fr-CH" sz="16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eptembre 2023 apr</a:t>
            </a:r>
            <a:r>
              <a:rPr lang="fr-CH" sz="1600" dirty="0">
                <a:solidFill>
                  <a:schemeClr val="dk1"/>
                </a:solidFill>
              </a:rPr>
              <a:t>ès deux ans de discussion:</a:t>
            </a:r>
          </a:p>
          <a:p>
            <a:pPr marL="2857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720725" algn="l"/>
              </a:tabLst>
            </a:pPr>
            <a:r>
              <a:rPr lang="fr-CH" sz="1600" b="1" dirty="0">
                <a:solidFill>
                  <a:schemeClr val="dk1"/>
                </a:solidFill>
              </a:rPr>
              <a:t>221 	voix POUR</a:t>
            </a:r>
          </a:p>
          <a:p>
            <a:pPr marL="285750" marR="0" lvl="0" indent="-28575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720725" algn="l"/>
              </a:tabLst>
            </a:pPr>
            <a:r>
              <a:rPr lang="fr-CH" sz="1600" dirty="0">
                <a:solidFill>
                  <a:schemeClr val="dk1"/>
                </a:solidFill>
              </a:rPr>
              <a:t> 19 	oppositions.</a:t>
            </a:r>
            <a:endParaRPr lang="fr-CH" dirty="0"/>
          </a:p>
        </p:txBody>
      </p:sp>
      <p:sp>
        <p:nvSpPr>
          <p:cNvPr id="124" name="Google Shape;124;p7"/>
          <p:cNvSpPr txBox="1"/>
          <p:nvPr/>
        </p:nvSpPr>
        <p:spPr>
          <a:xfrm>
            <a:off x="4235700" y="3213472"/>
            <a:ext cx="4679700" cy="8309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CH" sz="16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Le référendum aboutit en janvier 2024 </a:t>
            </a:r>
          </a:p>
          <a:p>
            <a:pPr marL="0" marR="0" lvl="0" indent="0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CH" sz="1600" dirty="0">
                <a:solidFill>
                  <a:schemeClr val="dk1"/>
                </a:solidFill>
              </a:rPr>
              <a:t>(</a:t>
            </a:r>
            <a:r>
              <a:rPr lang="fr-CH" sz="1600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63‘277 signatures valides).</a:t>
            </a:r>
            <a:endParaRPr lang="fr-CH" dirty="0"/>
          </a:p>
        </p:txBody>
      </p:sp>
      <p:pic>
        <p:nvPicPr>
          <p:cNvPr id="125" name="Google Shape;125;p7" descr="Jürg Grossen on X: &quot;Klares Bild bei der Schlussabstimmung zum „#Mantelerlass“.  Eine Vorlage von höchster Bedeutung, welche die 🇨🇭 mit konkreten  Massnahmen in eine fossilfreie, CO2-neutrale &amp; mit erneuerbarem Strom  versorgte Zukunft"/>
          <p:cNvPicPr preferRelativeResize="0"/>
          <p:nvPr/>
        </p:nvPicPr>
        <p:blipFill rotWithShape="1"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0" y="1576082"/>
            <a:ext cx="3591613" cy="2447434"/>
          </a:xfrm>
          <a:prstGeom prst="rect">
            <a:avLst/>
          </a:prstGeom>
          <a:noFill/>
          <a:ln>
            <a:noFill/>
          </a:ln>
        </p:spPr>
      </p:pic>
      <p:sp>
        <p:nvSpPr>
          <p:cNvPr id="126" name="Google Shape;126;p7"/>
          <p:cNvSpPr txBox="1"/>
          <p:nvPr/>
        </p:nvSpPr>
        <p:spPr>
          <a:xfrm>
            <a:off x="1" y="4945332"/>
            <a:ext cx="1453414" cy="1961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675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ource </a:t>
            </a:r>
            <a:r>
              <a:rPr lang="de-DE" sz="675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d‘image</a:t>
            </a:r>
            <a:r>
              <a:rPr lang="de-DE" sz="675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: Jürg </a:t>
            </a:r>
            <a:r>
              <a:rPr lang="de-DE" sz="675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Grossen</a:t>
            </a:r>
            <a:r>
              <a:rPr lang="de-DE" sz="675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de-DE" sz="675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sur</a:t>
            </a:r>
            <a:r>
              <a:rPr lang="de-DE" sz="675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X</a:t>
            </a:r>
            <a:endParaRPr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478F3EDE-A9D3-E11B-850D-3188AFBFA62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6515" b="94697" l="9906" r="91195">
                        <a14:foregroundMark x1="46226" y1="57121" x2="46226" y2="57121"/>
                        <a14:foregroundMark x1="54560" y1="65606" x2="54560" y2="65606"/>
                        <a14:foregroundMark x1="52201" y1="57121" x2="52201" y2="57121"/>
                        <a14:foregroundMark x1="60849" y1="58636" x2="60849" y2="58636"/>
                        <a14:foregroundMark x1="80503" y1="55606" x2="80503" y2="55606"/>
                        <a14:foregroundMark x1="91195" y1="81970" x2="91195" y2="81970"/>
                        <a14:foregroundMark x1="25314" y1="91364" x2="25314" y2="91364"/>
                        <a14:foregroundMark x1="44182" y1="9394" x2="44182" y2="9394"/>
                        <a14:foregroundMark x1="39780" y1="6515" x2="50314" y2="6515"/>
                        <a14:backgroundMark x1="16667" y1="94848" x2="16667" y2="94848"/>
                        <a14:backgroundMark x1="16981" y1="95303" x2="16981" y2="95303"/>
                        <a14:backgroundMark x1="16509" y1="95909" x2="16509" y2="95909"/>
                        <a14:backgroundMark x1="16195" y1="94697" x2="16981" y2="96212"/>
                        <a14:backgroundMark x1="90566" y1="69545" x2="91509" y2="73030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849104" y="0"/>
            <a:ext cx="1297457" cy="1346418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owerpointVorlage_SES_neu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Design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83</Words>
  <Application>Microsoft Office PowerPoint</Application>
  <PresentationFormat>Affichage à l'écran (16:9)</PresentationFormat>
  <Paragraphs>114</Paragraphs>
  <Slides>23</Slides>
  <Notes>23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3</vt:i4>
      </vt:variant>
    </vt:vector>
  </HeadingPairs>
  <TitlesOfParts>
    <vt:vector size="29" baseType="lpstr">
      <vt:lpstr>Akkurat Std</vt:lpstr>
      <vt:lpstr>Arial</vt:lpstr>
      <vt:lpstr>Calibri</vt:lpstr>
      <vt:lpstr>Wingdings</vt:lpstr>
      <vt:lpstr>PowerpointVorlage_SES_neu</vt:lpstr>
      <vt:lpstr>think-cell Folie</vt:lpstr>
      <vt:lpstr>LOI SUR L‘ÉLECTRICITÉ Contexte, contenu &amp; arguments</vt:lpstr>
      <vt:lpstr>CONTEXTE</vt:lpstr>
      <vt:lpstr>LA SUISSE A VOTÉ POUR LA TRANSITION ÉNERGÉTIQUE</vt:lpstr>
      <vt:lpstr>LA SUISSE DOIT RÉUSSI LA TRANSITION ÉNERGÉTIQUE</vt:lpstr>
      <vt:lpstr>LE RYTHME ACTUEL NE SUFFIT PAS</vt:lpstr>
      <vt:lpstr>NOUS AVONS BESOIN D‘OBJECTIFS AMBITIEUX</vt:lpstr>
      <vt:lpstr>NOUS AVONS BESOIN D‘OBJECTIFS AMBITIEUX</vt:lpstr>
      <vt:lpstr>LES ALTERNATIVES DANS L‘URGENCE NE CONVAINQUENT PAS </vt:lpstr>
      <vt:lpstr>LA SOLUTION : LA LOI SUR L‘ÉLECTRICITÉ</vt:lpstr>
      <vt:lpstr>CETTE LOI MET LE CAP SUR LE FUTUR</vt:lpstr>
      <vt:lpstr>LA LOI EN DÉTAIL </vt:lpstr>
      <vt:lpstr>LA LOI SUR L‘ÉLECTRICITÉ</vt:lpstr>
      <vt:lpstr>UN PLAN AMBITIEUX MAIS FAISABLE</vt:lpstr>
      <vt:lpstr>SUR LES INFRASTRUCTURES EXISTANTES</vt:lpstr>
      <vt:lpstr>PESÉE D’INTÉRÊTS PRODUCTION / PROTECTION</vt:lpstr>
      <vt:lpstr>LA PROTECTION N‘EST PAS AFFAIBLIE</vt:lpstr>
      <vt:lpstr>L‘HYDROÉLECTRICITÉ EN HIVER</vt:lpstr>
      <vt:lpstr>MESURES CONTRE LE GASPILLAGE D‘ÉNERGIE</vt:lpstr>
      <vt:lpstr>ET CECI COÛTE COMBIEN ?</vt:lpstr>
      <vt:lpstr>LA LOI SUR L‘ÉLECTRICITÉ CONTRIBUE A</vt:lpstr>
      <vt:lpstr>ELLES S‘ENGAGENT POUR LE OUI</vt:lpstr>
      <vt:lpstr>Présentation PowerPoint</vt:lpstr>
      <vt:lpstr> MERCI POUR VOTRE ATTENTION  https://www.loi-electricite.ch/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S STROMGESETZ Warum wir JA sagen</dc:title>
  <dc:creator>Léonore Hälg</dc:creator>
  <cp:lastModifiedBy>Pasquier-Eichenberger Isabelle PARL</cp:lastModifiedBy>
  <cp:revision>70</cp:revision>
  <dcterms:created xsi:type="dcterms:W3CDTF">2024-03-15T13:53:25Z</dcterms:created>
  <dcterms:modified xsi:type="dcterms:W3CDTF">2024-04-30T13:13:56Z</dcterms:modified>
</cp:coreProperties>
</file>